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</p:sldMasterIdLst>
  <p:notesMasterIdLst>
    <p:notesMasterId r:id="rId17"/>
  </p:notesMasterIdLst>
  <p:sldIdLst>
    <p:sldId id="605" r:id="rId6"/>
    <p:sldId id="2599" r:id="rId7"/>
    <p:sldId id="2689" r:id="rId8"/>
    <p:sldId id="2693" r:id="rId9"/>
    <p:sldId id="2710" r:id="rId10"/>
    <p:sldId id="2711" r:id="rId11"/>
    <p:sldId id="2702" r:id="rId12"/>
    <p:sldId id="2696" r:id="rId13"/>
    <p:sldId id="2712" r:id="rId14"/>
    <p:sldId id="2709" r:id="rId15"/>
    <p:sldId id="2705" r:id="rId16"/>
  </p:sldIdLst>
  <p:sldSz cx="12192000" cy="6858000"/>
  <p:notesSz cx="6805613" cy="99441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CFFCC"/>
    <a:srgbClr val="660066"/>
    <a:srgbClr val="E4B0BB"/>
    <a:srgbClr val="EACCFC"/>
    <a:srgbClr val="F0DBFD"/>
    <a:srgbClr val="F1E7EA"/>
    <a:srgbClr val="7ABC32"/>
    <a:srgbClr val="92D050"/>
    <a:srgbClr val="80C5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EE3CD7-55D5-40F6-A1CF-ED829C3990BF}" v="741" dt="2023-03-01T12:51:56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99" d="100"/>
          <a:sy n="99" d="100"/>
        </p:scale>
        <p:origin x="336" y="72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line Audibert" userId="8796d7c5-f4bb-47e6-92d8-58fb126ac2b1" providerId="ADAL" clId="{DEEE3CD7-55D5-40F6-A1CF-ED829C3990BF}"/>
    <pc:docChg chg="undo custSel addSld delSld modSld sldOrd">
      <pc:chgData name="Celine Audibert" userId="8796d7c5-f4bb-47e6-92d8-58fb126ac2b1" providerId="ADAL" clId="{DEEE3CD7-55D5-40F6-A1CF-ED829C3990BF}" dt="2023-03-01T12:54:43.680" v="3002" actId="20577"/>
      <pc:docMkLst>
        <pc:docMk/>
      </pc:docMkLst>
      <pc:sldChg chg="addSp delSp modSp">
        <pc:chgData name="Celine Audibert" userId="8796d7c5-f4bb-47e6-92d8-58fb126ac2b1" providerId="ADAL" clId="{DEEE3CD7-55D5-40F6-A1CF-ED829C3990BF}" dt="2023-02-28T21:58:10.828" v="2919" actId="1035"/>
        <pc:sldMkLst>
          <pc:docMk/>
          <pc:sldMk cId="1114580196" sldId="605"/>
        </pc:sldMkLst>
        <pc:spChg chg="add mod">
          <ac:chgData name="Celine Audibert" userId="8796d7c5-f4bb-47e6-92d8-58fb126ac2b1" providerId="ADAL" clId="{DEEE3CD7-55D5-40F6-A1CF-ED829C3990BF}" dt="2023-02-28T21:58:10.828" v="2919" actId="1035"/>
          <ac:spMkLst>
            <pc:docMk/>
            <pc:sldMk cId="1114580196" sldId="605"/>
            <ac:spMk id="2" creationId="{D113230E-D360-60F9-1914-1ABDB05A6D89}"/>
          </ac:spMkLst>
        </pc:spChg>
        <pc:spChg chg="del mod">
          <ac:chgData name="Celine Audibert" userId="8796d7c5-f4bb-47e6-92d8-58fb126ac2b1" providerId="ADAL" clId="{DEEE3CD7-55D5-40F6-A1CF-ED829C3990BF}" dt="2023-02-28T21:58:02.327" v="2912" actId="478"/>
          <ac:spMkLst>
            <pc:docMk/>
            <pc:sldMk cId="1114580196" sldId="605"/>
            <ac:spMk id="9220" creationId="{00000000-0000-0000-0000-000000000000}"/>
          </ac:spMkLst>
        </pc:spChg>
      </pc:sldChg>
      <pc:sldChg chg="addSp delSp modSp mod">
        <pc:chgData name="Celine Audibert" userId="8796d7c5-f4bb-47e6-92d8-58fb126ac2b1" providerId="ADAL" clId="{DEEE3CD7-55D5-40F6-A1CF-ED829C3990BF}" dt="2023-03-01T12:51:56.506" v="2970"/>
        <pc:sldMkLst>
          <pc:docMk/>
          <pc:sldMk cId="1280398344" sldId="2599"/>
        </pc:sldMkLst>
        <pc:spChg chg="add del mod">
          <ac:chgData name="Celine Audibert" userId="8796d7c5-f4bb-47e6-92d8-58fb126ac2b1" providerId="ADAL" clId="{DEEE3CD7-55D5-40F6-A1CF-ED829C3990BF}" dt="2023-02-28T18:41:53.016" v="65" actId="478"/>
          <ac:spMkLst>
            <pc:docMk/>
            <pc:sldMk cId="1280398344" sldId="2599"/>
            <ac:spMk id="2" creationId="{E2B98669-4F18-CDBC-A68F-986724B45606}"/>
          </ac:spMkLst>
        </pc:spChg>
        <pc:spChg chg="mod">
          <ac:chgData name="Celine Audibert" userId="8796d7c5-f4bb-47e6-92d8-58fb126ac2b1" providerId="ADAL" clId="{DEEE3CD7-55D5-40F6-A1CF-ED829C3990BF}" dt="2023-03-01T12:51:25.655" v="2967" actId="20577"/>
          <ac:spMkLst>
            <pc:docMk/>
            <pc:sldMk cId="1280398344" sldId="2599"/>
            <ac:spMk id="6" creationId="{2D58FE26-9026-481D-A258-0B3E5FDD7884}"/>
          </ac:spMkLst>
        </pc:spChg>
        <pc:spChg chg="del">
          <ac:chgData name="Celine Audibert" userId="8796d7c5-f4bb-47e6-92d8-58fb126ac2b1" providerId="ADAL" clId="{DEEE3CD7-55D5-40F6-A1CF-ED829C3990BF}" dt="2023-02-28T18:41:46.945" v="64" actId="478"/>
          <ac:spMkLst>
            <pc:docMk/>
            <pc:sldMk cId="1280398344" sldId="2599"/>
            <ac:spMk id="8" creationId="{8498C694-EBCC-4461-A373-FD0AAD18CE13}"/>
          </ac:spMkLst>
        </pc:spChg>
        <pc:graphicFrameChg chg="add mod modGraphic">
          <ac:chgData name="Celine Audibert" userId="8796d7c5-f4bb-47e6-92d8-58fb126ac2b1" providerId="ADAL" clId="{DEEE3CD7-55D5-40F6-A1CF-ED829C3990BF}" dt="2023-03-01T12:51:56.506" v="2970"/>
          <ac:graphicFrameMkLst>
            <pc:docMk/>
            <pc:sldMk cId="1280398344" sldId="2599"/>
            <ac:graphicFrameMk id="10" creationId="{CCE6F45B-FA97-B9FE-9AF9-04C69137C9B9}"/>
          </ac:graphicFrameMkLst>
        </pc:graphicFrameChg>
        <pc:picChg chg="add del mod">
          <ac:chgData name="Celine Audibert" userId="8796d7c5-f4bb-47e6-92d8-58fb126ac2b1" providerId="ADAL" clId="{DEEE3CD7-55D5-40F6-A1CF-ED829C3990BF}" dt="2023-02-28T19:03:09.918" v="362" actId="478"/>
          <ac:picMkLst>
            <pc:docMk/>
            <pc:sldMk cId="1280398344" sldId="2599"/>
            <ac:picMk id="4" creationId="{76B39818-369E-48FB-AC53-D4B5797F1A62}"/>
          </ac:picMkLst>
        </pc:picChg>
        <pc:picChg chg="add del mod">
          <ac:chgData name="Celine Audibert" userId="8796d7c5-f4bb-47e6-92d8-58fb126ac2b1" providerId="ADAL" clId="{DEEE3CD7-55D5-40F6-A1CF-ED829C3990BF}" dt="2023-02-28T19:03:21.134" v="364" actId="478"/>
          <ac:picMkLst>
            <pc:docMk/>
            <pc:sldMk cId="1280398344" sldId="2599"/>
            <ac:picMk id="9" creationId="{253831E5-3DCE-0FA5-F0AB-5AAD696E1D76}"/>
          </ac:picMkLst>
        </pc:picChg>
      </pc:sldChg>
      <pc:sldChg chg="del">
        <pc:chgData name="Celine Audibert" userId="8796d7c5-f4bb-47e6-92d8-58fb126ac2b1" providerId="ADAL" clId="{DEEE3CD7-55D5-40F6-A1CF-ED829C3990BF}" dt="2023-02-28T19:21:43.105" v="1079" actId="47"/>
        <pc:sldMkLst>
          <pc:docMk/>
          <pc:sldMk cId="2835050967" sldId="2654"/>
        </pc:sldMkLst>
      </pc:sldChg>
      <pc:sldChg chg="addSp delSp modSp mod">
        <pc:chgData name="Celine Audibert" userId="8796d7c5-f4bb-47e6-92d8-58fb126ac2b1" providerId="ADAL" clId="{DEEE3CD7-55D5-40F6-A1CF-ED829C3990BF}" dt="2023-02-28T21:28:15.839" v="1980" actId="13822"/>
        <pc:sldMkLst>
          <pc:docMk/>
          <pc:sldMk cId="1975956018" sldId="2689"/>
        </pc:sldMkLst>
        <pc:spChg chg="mod">
          <ac:chgData name="Celine Audibert" userId="8796d7c5-f4bb-47e6-92d8-58fb126ac2b1" providerId="ADAL" clId="{DEEE3CD7-55D5-40F6-A1CF-ED829C3990BF}" dt="2023-02-28T19:09:30.460" v="554" actId="20577"/>
          <ac:spMkLst>
            <pc:docMk/>
            <pc:sldMk cId="1975956018" sldId="2689"/>
            <ac:spMk id="2" creationId="{A2E70CD0-81F4-4A8D-ADC4-170D2859B603}"/>
          </ac:spMkLst>
        </pc:spChg>
        <pc:spChg chg="add mod">
          <ac:chgData name="Celine Audibert" userId="8796d7c5-f4bb-47e6-92d8-58fb126ac2b1" providerId="ADAL" clId="{DEEE3CD7-55D5-40F6-A1CF-ED829C3990BF}" dt="2023-02-28T21:28:15.839" v="1980" actId="13822"/>
          <ac:spMkLst>
            <pc:docMk/>
            <pc:sldMk cId="1975956018" sldId="2689"/>
            <ac:spMk id="3" creationId="{2311E88B-4AD9-855C-DD56-0EA8795C3973}"/>
          </ac:spMkLst>
        </pc:spChg>
        <pc:spChg chg="add del mod">
          <ac:chgData name="Celine Audibert" userId="8796d7c5-f4bb-47e6-92d8-58fb126ac2b1" providerId="ADAL" clId="{DEEE3CD7-55D5-40F6-A1CF-ED829C3990BF}" dt="2023-02-28T19:13:26.839" v="579" actId="478"/>
          <ac:spMkLst>
            <pc:docMk/>
            <pc:sldMk cId="1975956018" sldId="2689"/>
            <ac:spMk id="5" creationId="{657F8B8C-5D66-D88D-19BA-4E1E73BA924E}"/>
          </ac:spMkLst>
        </pc:spChg>
        <pc:spChg chg="del mod">
          <ac:chgData name="Celine Audibert" userId="8796d7c5-f4bb-47e6-92d8-58fb126ac2b1" providerId="ADAL" clId="{DEEE3CD7-55D5-40F6-A1CF-ED829C3990BF}" dt="2023-02-28T19:13:20.657" v="578" actId="478"/>
          <ac:spMkLst>
            <pc:docMk/>
            <pc:sldMk cId="1975956018" sldId="2689"/>
            <ac:spMk id="8" creationId="{F1147286-4B97-4CDC-B06F-33BD60399246}"/>
          </ac:spMkLst>
        </pc:spChg>
      </pc:sldChg>
      <pc:sldChg chg="modSp mod">
        <pc:chgData name="Celine Audibert" userId="8796d7c5-f4bb-47e6-92d8-58fb126ac2b1" providerId="ADAL" clId="{DEEE3CD7-55D5-40F6-A1CF-ED829C3990BF}" dt="2023-03-01T12:54:07.678" v="2990" actId="20577"/>
        <pc:sldMkLst>
          <pc:docMk/>
          <pc:sldMk cId="1608488687" sldId="2693"/>
        </pc:sldMkLst>
        <pc:spChg chg="mod">
          <ac:chgData name="Celine Audibert" userId="8796d7c5-f4bb-47e6-92d8-58fb126ac2b1" providerId="ADAL" clId="{DEEE3CD7-55D5-40F6-A1CF-ED829C3990BF}" dt="2023-02-28T19:17:25.707" v="648" actId="20577"/>
          <ac:spMkLst>
            <pc:docMk/>
            <pc:sldMk cId="1608488687" sldId="2693"/>
            <ac:spMk id="2" creationId="{A2E70CD0-81F4-4A8D-ADC4-170D2859B603}"/>
          </ac:spMkLst>
        </pc:spChg>
        <pc:spChg chg="mod">
          <ac:chgData name="Celine Audibert" userId="8796d7c5-f4bb-47e6-92d8-58fb126ac2b1" providerId="ADAL" clId="{DEEE3CD7-55D5-40F6-A1CF-ED829C3990BF}" dt="2023-03-01T12:54:07.678" v="2990" actId="20577"/>
          <ac:spMkLst>
            <pc:docMk/>
            <pc:sldMk cId="1608488687" sldId="2693"/>
            <ac:spMk id="8" creationId="{F1147286-4B97-4CDC-B06F-33BD60399246}"/>
          </ac:spMkLst>
        </pc:spChg>
        <pc:graphicFrameChg chg="mod modGraphic">
          <ac:chgData name="Celine Audibert" userId="8796d7c5-f4bb-47e6-92d8-58fb126ac2b1" providerId="ADAL" clId="{DEEE3CD7-55D5-40F6-A1CF-ED829C3990BF}" dt="2023-03-01T10:56:10.284" v="2960" actId="20577"/>
          <ac:graphicFrameMkLst>
            <pc:docMk/>
            <pc:sldMk cId="1608488687" sldId="2693"/>
            <ac:graphicFrameMk id="3" creationId="{EF1A5438-A850-FC0D-2696-65591D8B26E6}"/>
          </ac:graphicFrameMkLst>
        </pc:graphicFrameChg>
        <pc:picChg chg="mod">
          <ac:chgData name="Celine Audibert" userId="8796d7c5-f4bb-47e6-92d8-58fb126ac2b1" providerId="ADAL" clId="{DEEE3CD7-55D5-40F6-A1CF-ED829C3990BF}" dt="2023-02-28T19:36:22.654" v="1737" actId="1076"/>
          <ac:picMkLst>
            <pc:docMk/>
            <pc:sldMk cId="1608488687" sldId="2693"/>
            <ac:picMk id="6" creationId="{89FBB638-E017-D581-0BBB-D8E3B9E9E65A}"/>
          </ac:picMkLst>
        </pc:picChg>
      </pc:sldChg>
      <pc:sldChg chg="del">
        <pc:chgData name="Celine Audibert" userId="8796d7c5-f4bb-47e6-92d8-58fb126ac2b1" providerId="ADAL" clId="{DEEE3CD7-55D5-40F6-A1CF-ED829C3990BF}" dt="2023-02-28T19:35:13.239" v="1684" actId="47"/>
        <pc:sldMkLst>
          <pc:docMk/>
          <pc:sldMk cId="2553354380" sldId="2694"/>
        </pc:sldMkLst>
      </pc:sldChg>
      <pc:sldChg chg="del">
        <pc:chgData name="Celine Audibert" userId="8796d7c5-f4bb-47e6-92d8-58fb126ac2b1" providerId="ADAL" clId="{DEEE3CD7-55D5-40F6-A1CF-ED829C3990BF}" dt="2023-02-28T21:35:07.715" v="2231" actId="47"/>
        <pc:sldMkLst>
          <pc:docMk/>
          <pc:sldMk cId="2006894247" sldId="2695"/>
        </pc:sldMkLst>
      </pc:sldChg>
      <pc:sldChg chg="addSp delSp modSp mod">
        <pc:chgData name="Celine Audibert" userId="8796d7c5-f4bb-47e6-92d8-58fb126ac2b1" providerId="ADAL" clId="{DEEE3CD7-55D5-40F6-A1CF-ED829C3990BF}" dt="2023-03-01T11:02:07.216" v="2964" actId="403"/>
        <pc:sldMkLst>
          <pc:docMk/>
          <pc:sldMk cId="2027944039" sldId="2696"/>
        </pc:sldMkLst>
        <pc:spChg chg="mod">
          <ac:chgData name="Celine Audibert" userId="8796d7c5-f4bb-47e6-92d8-58fb126ac2b1" providerId="ADAL" clId="{DEEE3CD7-55D5-40F6-A1CF-ED829C3990BF}" dt="2023-02-28T19:41:12.467" v="1840" actId="6549"/>
          <ac:spMkLst>
            <pc:docMk/>
            <pc:sldMk cId="2027944039" sldId="2696"/>
            <ac:spMk id="2" creationId="{A2E70CD0-81F4-4A8D-ADC4-170D2859B603}"/>
          </ac:spMkLst>
        </pc:spChg>
        <pc:graphicFrameChg chg="mod modGraphic">
          <ac:chgData name="Celine Audibert" userId="8796d7c5-f4bb-47e6-92d8-58fb126ac2b1" providerId="ADAL" clId="{DEEE3CD7-55D5-40F6-A1CF-ED829C3990BF}" dt="2023-03-01T11:02:07.216" v="2964" actId="403"/>
          <ac:graphicFrameMkLst>
            <pc:docMk/>
            <pc:sldMk cId="2027944039" sldId="2696"/>
            <ac:graphicFrameMk id="5" creationId="{3C3BA735-8D43-F619-6446-87A1D9F0ACEA}"/>
          </ac:graphicFrameMkLst>
        </pc:graphicFrameChg>
        <pc:picChg chg="del">
          <ac:chgData name="Celine Audibert" userId="8796d7c5-f4bb-47e6-92d8-58fb126ac2b1" providerId="ADAL" clId="{DEEE3CD7-55D5-40F6-A1CF-ED829C3990BF}" dt="2023-02-28T19:41:26.048" v="1842" actId="478"/>
          <ac:picMkLst>
            <pc:docMk/>
            <pc:sldMk cId="2027944039" sldId="2696"/>
            <ac:picMk id="3" creationId="{03835823-D5DE-B620-EE6E-FAD2FFE2EC3B}"/>
          </ac:picMkLst>
        </pc:picChg>
        <pc:picChg chg="add mod">
          <ac:chgData name="Celine Audibert" userId="8796d7c5-f4bb-47e6-92d8-58fb126ac2b1" providerId="ADAL" clId="{DEEE3CD7-55D5-40F6-A1CF-ED829C3990BF}" dt="2023-02-28T19:41:23.177" v="1841"/>
          <ac:picMkLst>
            <pc:docMk/>
            <pc:sldMk cId="2027944039" sldId="2696"/>
            <ac:picMk id="6" creationId="{7BEAC97D-CA6F-8B12-EDAD-B4F57918B43A}"/>
          </ac:picMkLst>
        </pc:picChg>
      </pc:sldChg>
      <pc:sldChg chg="del">
        <pc:chgData name="Celine Audibert" userId="8796d7c5-f4bb-47e6-92d8-58fb126ac2b1" providerId="ADAL" clId="{DEEE3CD7-55D5-40F6-A1CF-ED829C3990BF}" dt="2023-02-28T21:55:38.516" v="2864" actId="47"/>
        <pc:sldMkLst>
          <pc:docMk/>
          <pc:sldMk cId="2098395359" sldId="2698"/>
        </pc:sldMkLst>
      </pc:sldChg>
      <pc:sldChg chg="del">
        <pc:chgData name="Celine Audibert" userId="8796d7c5-f4bb-47e6-92d8-58fb126ac2b1" providerId="ADAL" clId="{DEEE3CD7-55D5-40F6-A1CF-ED829C3990BF}" dt="2023-02-28T19:35:15.712" v="1685" actId="47"/>
        <pc:sldMkLst>
          <pc:docMk/>
          <pc:sldMk cId="2107388923" sldId="2700"/>
        </pc:sldMkLst>
      </pc:sldChg>
      <pc:sldChg chg="del">
        <pc:chgData name="Celine Audibert" userId="8796d7c5-f4bb-47e6-92d8-58fb126ac2b1" providerId="ADAL" clId="{DEEE3CD7-55D5-40F6-A1CF-ED829C3990BF}" dt="2023-02-28T19:38:28.311" v="1777" actId="47"/>
        <pc:sldMkLst>
          <pc:docMk/>
          <pc:sldMk cId="3496930748" sldId="2701"/>
        </pc:sldMkLst>
      </pc:sldChg>
      <pc:sldChg chg="addSp delSp modSp mod ord">
        <pc:chgData name="Celine Audibert" userId="8796d7c5-f4bb-47e6-92d8-58fb126ac2b1" providerId="ADAL" clId="{DEEE3CD7-55D5-40F6-A1CF-ED829C3990BF}" dt="2023-02-28T19:43:13.004" v="1845" actId="403"/>
        <pc:sldMkLst>
          <pc:docMk/>
          <pc:sldMk cId="101791809" sldId="2702"/>
        </pc:sldMkLst>
        <pc:spChg chg="mod">
          <ac:chgData name="Celine Audibert" userId="8796d7c5-f4bb-47e6-92d8-58fb126ac2b1" providerId="ADAL" clId="{DEEE3CD7-55D5-40F6-A1CF-ED829C3990BF}" dt="2023-02-28T19:37:20.663" v="1776" actId="20577"/>
          <ac:spMkLst>
            <pc:docMk/>
            <pc:sldMk cId="101791809" sldId="2702"/>
            <ac:spMk id="2" creationId="{A2E70CD0-81F4-4A8D-ADC4-170D2859B603}"/>
          </ac:spMkLst>
        </pc:spChg>
        <pc:graphicFrameChg chg="modGraphic">
          <ac:chgData name="Celine Audibert" userId="8796d7c5-f4bb-47e6-92d8-58fb126ac2b1" providerId="ADAL" clId="{DEEE3CD7-55D5-40F6-A1CF-ED829C3990BF}" dt="2023-02-28T19:43:13.004" v="1845" actId="403"/>
          <ac:graphicFrameMkLst>
            <pc:docMk/>
            <pc:sldMk cId="101791809" sldId="2702"/>
            <ac:graphicFrameMk id="5" creationId="{3C3BA735-8D43-F619-6446-87A1D9F0ACEA}"/>
          </ac:graphicFrameMkLst>
        </pc:graphicFrameChg>
        <pc:picChg chg="del mod">
          <ac:chgData name="Celine Audibert" userId="8796d7c5-f4bb-47e6-92d8-58fb126ac2b1" providerId="ADAL" clId="{DEEE3CD7-55D5-40F6-A1CF-ED829C3990BF}" dt="2023-02-28T19:36:50.911" v="1745" actId="478"/>
          <ac:picMkLst>
            <pc:docMk/>
            <pc:sldMk cId="101791809" sldId="2702"/>
            <ac:picMk id="3" creationId="{56DC8F3A-9F27-858E-E287-A389E246EB8A}"/>
          </ac:picMkLst>
        </pc:picChg>
        <pc:picChg chg="add mod">
          <ac:chgData name="Celine Audibert" userId="8796d7c5-f4bb-47e6-92d8-58fb126ac2b1" providerId="ADAL" clId="{DEEE3CD7-55D5-40F6-A1CF-ED829C3990BF}" dt="2023-02-28T19:36:47.239" v="1743"/>
          <ac:picMkLst>
            <pc:docMk/>
            <pc:sldMk cId="101791809" sldId="2702"/>
            <ac:picMk id="6" creationId="{6FCAC048-3FD8-27AD-C645-ED048BD159D5}"/>
          </ac:picMkLst>
        </pc:picChg>
      </pc:sldChg>
      <pc:sldChg chg="del">
        <pc:chgData name="Celine Audibert" userId="8796d7c5-f4bb-47e6-92d8-58fb126ac2b1" providerId="ADAL" clId="{DEEE3CD7-55D5-40F6-A1CF-ED829C3990BF}" dt="2023-02-28T21:55:40.947" v="2865" actId="47"/>
        <pc:sldMkLst>
          <pc:docMk/>
          <pc:sldMk cId="3770303452" sldId="2704"/>
        </pc:sldMkLst>
      </pc:sldChg>
      <pc:sldChg chg="add">
        <pc:chgData name="Celine Audibert" userId="8796d7c5-f4bb-47e6-92d8-58fb126ac2b1" providerId="ADAL" clId="{DEEE3CD7-55D5-40F6-A1CF-ED829C3990BF}" dt="2023-02-28T21:58:38.892" v="2920"/>
        <pc:sldMkLst>
          <pc:docMk/>
          <pc:sldMk cId="3127797334" sldId="2705"/>
        </pc:sldMkLst>
      </pc:sldChg>
      <pc:sldChg chg="del">
        <pc:chgData name="Celine Audibert" userId="8796d7c5-f4bb-47e6-92d8-58fb126ac2b1" providerId="ADAL" clId="{DEEE3CD7-55D5-40F6-A1CF-ED829C3990BF}" dt="2023-02-28T21:55:42.140" v="2866" actId="47"/>
        <pc:sldMkLst>
          <pc:docMk/>
          <pc:sldMk cId="3729990886" sldId="2705"/>
        </pc:sldMkLst>
      </pc:sldChg>
      <pc:sldChg chg="del">
        <pc:chgData name="Celine Audibert" userId="8796d7c5-f4bb-47e6-92d8-58fb126ac2b1" providerId="ADAL" clId="{DEEE3CD7-55D5-40F6-A1CF-ED829C3990BF}" dt="2023-02-28T19:39:02.823" v="1778" actId="47"/>
        <pc:sldMkLst>
          <pc:docMk/>
          <pc:sldMk cId="2609056581" sldId="2706"/>
        </pc:sldMkLst>
      </pc:sldChg>
      <pc:sldChg chg="del">
        <pc:chgData name="Celine Audibert" userId="8796d7c5-f4bb-47e6-92d8-58fb126ac2b1" providerId="ADAL" clId="{DEEE3CD7-55D5-40F6-A1CF-ED829C3990BF}" dt="2023-02-28T21:56:59.762" v="2867" actId="47"/>
        <pc:sldMkLst>
          <pc:docMk/>
          <pc:sldMk cId="4279175543" sldId="2707"/>
        </pc:sldMkLst>
      </pc:sldChg>
      <pc:sldChg chg="modSp del mod">
        <pc:chgData name="Celine Audibert" userId="8796d7c5-f4bb-47e6-92d8-58fb126ac2b1" providerId="ADAL" clId="{DEEE3CD7-55D5-40F6-A1CF-ED829C3990BF}" dt="2023-02-28T21:57:00.455" v="2868" actId="47"/>
        <pc:sldMkLst>
          <pc:docMk/>
          <pc:sldMk cId="3949458664" sldId="2708"/>
        </pc:sldMkLst>
        <pc:spChg chg="mod">
          <ac:chgData name="Celine Audibert" userId="8796d7c5-f4bb-47e6-92d8-58fb126ac2b1" providerId="ADAL" clId="{DEEE3CD7-55D5-40F6-A1CF-ED829C3990BF}" dt="2023-02-28T21:32:40.523" v="2222" actId="20577"/>
          <ac:spMkLst>
            <pc:docMk/>
            <pc:sldMk cId="3949458664" sldId="2708"/>
            <ac:spMk id="8" creationId="{F1147286-4B97-4CDC-B06F-33BD60399246}"/>
          </ac:spMkLst>
        </pc:spChg>
      </pc:sldChg>
      <pc:sldChg chg="modSp mod ord">
        <pc:chgData name="Celine Audibert" userId="8796d7c5-f4bb-47e6-92d8-58fb126ac2b1" providerId="ADAL" clId="{DEEE3CD7-55D5-40F6-A1CF-ED829C3990BF}" dt="2023-02-28T21:34:43.381" v="2230"/>
        <pc:sldMkLst>
          <pc:docMk/>
          <pc:sldMk cId="3761904513" sldId="2709"/>
        </pc:sldMkLst>
        <pc:spChg chg="mod">
          <ac:chgData name="Celine Audibert" userId="8796d7c5-f4bb-47e6-92d8-58fb126ac2b1" providerId="ADAL" clId="{DEEE3CD7-55D5-40F6-A1CF-ED829C3990BF}" dt="2023-02-28T21:34:09.577" v="2228" actId="20577"/>
          <ac:spMkLst>
            <pc:docMk/>
            <pc:sldMk cId="3761904513" sldId="2709"/>
            <ac:spMk id="8" creationId="{F1147286-4B97-4CDC-B06F-33BD60399246}"/>
          </ac:spMkLst>
        </pc:spChg>
      </pc:sldChg>
      <pc:sldChg chg="addSp delSp modSp add del mod">
        <pc:chgData name="Celine Audibert" userId="8796d7c5-f4bb-47e6-92d8-58fb126ac2b1" providerId="ADAL" clId="{DEEE3CD7-55D5-40F6-A1CF-ED829C3990BF}" dt="2023-03-01T12:53:30.328" v="2972" actId="20577"/>
        <pc:sldMkLst>
          <pc:docMk/>
          <pc:sldMk cId="2767461032" sldId="2710"/>
        </pc:sldMkLst>
        <pc:spChg chg="mod">
          <ac:chgData name="Celine Audibert" userId="8796d7c5-f4bb-47e6-92d8-58fb126ac2b1" providerId="ADAL" clId="{DEEE3CD7-55D5-40F6-A1CF-ED829C3990BF}" dt="2023-02-28T19:22:25.710" v="1125" actId="20577"/>
          <ac:spMkLst>
            <pc:docMk/>
            <pc:sldMk cId="2767461032" sldId="2710"/>
            <ac:spMk id="2" creationId="{A2E70CD0-81F4-4A8D-ADC4-170D2859B603}"/>
          </ac:spMkLst>
        </pc:spChg>
        <pc:spChg chg="mod">
          <ac:chgData name="Celine Audibert" userId="8796d7c5-f4bb-47e6-92d8-58fb126ac2b1" providerId="ADAL" clId="{DEEE3CD7-55D5-40F6-A1CF-ED829C3990BF}" dt="2023-03-01T12:53:30.328" v="2972" actId="20577"/>
          <ac:spMkLst>
            <pc:docMk/>
            <pc:sldMk cId="2767461032" sldId="2710"/>
            <ac:spMk id="8" creationId="{F1147286-4B97-4CDC-B06F-33BD60399246}"/>
          </ac:spMkLst>
        </pc:spChg>
        <pc:picChg chg="del">
          <ac:chgData name="Celine Audibert" userId="8796d7c5-f4bb-47e6-92d8-58fb126ac2b1" providerId="ADAL" clId="{DEEE3CD7-55D5-40F6-A1CF-ED829C3990BF}" dt="2023-02-28T19:36:37.639" v="1740" actId="478"/>
          <ac:picMkLst>
            <pc:docMk/>
            <pc:sldMk cId="2767461032" sldId="2710"/>
            <ac:picMk id="3" creationId="{10B62190-687A-4622-CAA0-2F02729C19F7}"/>
          </ac:picMkLst>
        </pc:picChg>
        <pc:picChg chg="add mod">
          <ac:chgData name="Celine Audibert" userId="8796d7c5-f4bb-47e6-92d8-58fb126ac2b1" providerId="ADAL" clId="{DEEE3CD7-55D5-40F6-A1CF-ED829C3990BF}" dt="2023-02-28T19:36:25.589" v="1738"/>
          <ac:picMkLst>
            <pc:docMk/>
            <pc:sldMk cId="2767461032" sldId="2710"/>
            <ac:picMk id="5" creationId="{31DEB4AE-C7A4-EFF4-A88F-42B33F0F7824}"/>
          </ac:picMkLst>
        </pc:picChg>
      </pc:sldChg>
      <pc:sldChg chg="addSp delSp modSp add mod">
        <pc:chgData name="Celine Audibert" userId="8796d7c5-f4bb-47e6-92d8-58fb126ac2b1" providerId="ADAL" clId="{DEEE3CD7-55D5-40F6-A1CF-ED829C3990BF}" dt="2023-02-28T19:36:45.179" v="1742" actId="1076"/>
        <pc:sldMkLst>
          <pc:docMk/>
          <pc:sldMk cId="3823046816" sldId="2711"/>
        </pc:sldMkLst>
        <pc:spChg chg="mod">
          <ac:chgData name="Celine Audibert" userId="8796d7c5-f4bb-47e6-92d8-58fb126ac2b1" providerId="ADAL" clId="{DEEE3CD7-55D5-40F6-A1CF-ED829C3990BF}" dt="2023-02-28T19:27:11.076" v="1382" actId="20577"/>
          <ac:spMkLst>
            <pc:docMk/>
            <pc:sldMk cId="3823046816" sldId="2711"/>
            <ac:spMk id="2" creationId="{A2E70CD0-81F4-4A8D-ADC4-170D2859B603}"/>
          </ac:spMkLst>
        </pc:spChg>
        <pc:spChg chg="add del mod">
          <ac:chgData name="Celine Audibert" userId="8796d7c5-f4bb-47e6-92d8-58fb126ac2b1" providerId="ADAL" clId="{DEEE3CD7-55D5-40F6-A1CF-ED829C3990BF}" dt="2023-02-28T19:28:52.910" v="1385" actId="478"/>
          <ac:spMkLst>
            <pc:docMk/>
            <pc:sldMk cId="3823046816" sldId="2711"/>
            <ac:spMk id="5" creationId="{89AFF735-3467-57D5-5AC5-5C103D7963BE}"/>
          </ac:spMkLst>
        </pc:spChg>
        <pc:spChg chg="del mod">
          <ac:chgData name="Celine Audibert" userId="8796d7c5-f4bb-47e6-92d8-58fb126ac2b1" providerId="ADAL" clId="{DEEE3CD7-55D5-40F6-A1CF-ED829C3990BF}" dt="2023-02-28T19:28:49.768" v="1384" actId="478"/>
          <ac:spMkLst>
            <pc:docMk/>
            <pc:sldMk cId="3823046816" sldId="2711"/>
            <ac:spMk id="8" creationId="{F1147286-4B97-4CDC-B06F-33BD60399246}"/>
          </ac:spMkLst>
        </pc:spChg>
        <pc:graphicFrameChg chg="add mod modGraphic">
          <ac:chgData name="Celine Audibert" userId="8796d7c5-f4bb-47e6-92d8-58fb126ac2b1" providerId="ADAL" clId="{DEEE3CD7-55D5-40F6-A1CF-ED829C3990BF}" dt="2023-02-28T19:35:02.215" v="1683" actId="1038"/>
          <ac:graphicFrameMkLst>
            <pc:docMk/>
            <pc:sldMk cId="3823046816" sldId="2711"/>
            <ac:graphicFrameMk id="6" creationId="{EB2EA1D2-3BCA-C6BA-4CB4-197D9648BD7D}"/>
          </ac:graphicFrameMkLst>
        </pc:graphicFrameChg>
        <pc:picChg chg="del">
          <ac:chgData name="Celine Audibert" userId="8796d7c5-f4bb-47e6-92d8-58fb126ac2b1" providerId="ADAL" clId="{DEEE3CD7-55D5-40F6-A1CF-ED829C3990BF}" dt="2023-02-28T19:36:40.162" v="1741" actId="478"/>
          <ac:picMkLst>
            <pc:docMk/>
            <pc:sldMk cId="3823046816" sldId="2711"/>
            <ac:picMk id="3" creationId="{10B62190-687A-4622-CAA0-2F02729C19F7}"/>
          </ac:picMkLst>
        </pc:picChg>
        <pc:picChg chg="add mod">
          <ac:chgData name="Celine Audibert" userId="8796d7c5-f4bb-47e6-92d8-58fb126ac2b1" providerId="ADAL" clId="{DEEE3CD7-55D5-40F6-A1CF-ED829C3990BF}" dt="2023-02-28T19:36:45.179" v="1742" actId="1076"/>
          <ac:picMkLst>
            <pc:docMk/>
            <pc:sldMk cId="3823046816" sldId="2711"/>
            <ac:picMk id="7" creationId="{6DF7D838-9197-6373-4A03-AD482EA5BAE0}"/>
          </ac:picMkLst>
        </pc:picChg>
      </pc:sldChg>
      <pc:sldChg chg="addSp delSp modSp add mod">
        <pc:chgData name="Celine Audibert" userId="8796d7c5-f4bb-47e6-92d8-58fb126ac2b1" providerId="ADAL" clId="{DEEE3CD7-55D5-40F6-A1CF-ED829C3990BF}" dt="2023-03-01T12:54:43.680" v="3002" actId="20577"/>
        <pc:sldMkLst>
          <pc:docMk/>
          <pc:sldMk cId="660894694" sldId="2712"/>
        </pc:sldMkLst>
        <pc:spChg chg="mod">
          <ac:chgData name="Celine Audibert" userId="8796d7c5-f4bb-47e6-92d8-58fb126ac2b1" providerId="ADAL" clId="{DEEE3CD7-55D5-40F6-A1CF-ED829C3990BF}" dt="2023-02-28T19:44:21.026" v="1878" actId="20577"/>
          <ac:spMkLst>
            <pc:docMk/>
            <pc:sldMk cId="660894694" sldId="2712"/>
            <ac:spMk id="2" creationId="{A2E70CD0-81F4-4A8D-ADC4-170D2859B603}"/>
          </ac:spMkLst>
        </pc:spChg>
        <pc:spChg chg="add del mod">
          <ac:chgData name="Celine Audibert" userId="8796d7c5-f4bb-47e6-92d8-58fb126ac2b1" providerId="ADAL" clId="{DEEE3CD7-55D5-40F6-A1CF-ED829C3990BF}" dt="2023-02-28T21:37:46.605" v="2233" actId="478"/>
          <ac:spMkLst>
            <pc:docMk/>
            <pc:sldMk cId="660894694" sldId="2712"/>
            <ac:spMk id="3" creationId="{EFE0A2B4-AE1F-32AF-7014-0587DBB989F1}"/>
          </ac:spMkLst>
        </pc:spChg>
        <pc:spChg chg="del">
          <ac:chgData name="Celine Audibert" userId="8796d7c5-f4bb-47e6-92d8-58fb126ac2b1" providerId="ADAL" clId="{DEEE3CD7-55D5-40F6-A1CF-ED829C3990BF}" dt="2023-02-28T21:37:43.772" v="2232" actId="478"/>
          <ac:spMkLst>
            <pc:docMk/>
            <pc:sldMk cId="660894694" sldId="2712"/>
            <ac:spMk id="8" creationId="{F1147286-4B97-4CDC-B06F-33BD60399246}"/>
          </ac:spMkLst>
        </pc:spChg>
        <pc:graphicFrameChg chg="add mod modGraphic">
          <ac:chgData name="Celine Audibert" userId="8796d7c5-f4bb-47e6-92d8-58fb126ac2b1" providerId="ADAL" clId="{DEEE3CD7-55D5-40F6-A1CF-ED829C3990BF}" dt="2023-03-01T12:54:43.680" v="3002" actId="20577"/>
          <ac:graphicFrameMkLst>
            <pc:docMk/>
            <pc:sldMk cId="660894694" sldId="2712"/>
            <ac:graphicFrameMk id="6" creationId="{83F70395-5573-83C6-56F2-85FA377D2B77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3DDF6A-BC37-4879-9D62-39BC685FE1CE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FCBC2171-5268-47B8-B72E-B92ADBBCAB11}">
      <dgm:prSet phldrT="[Text]" custT="1"/>
      <dgm:spPr/>
      <dgm:t>
        <a:bodyPr/>
        <a:lstStyle/>
        <a:p>
          <a:r>
            <a:rPr lang="en-US" sz="3200" dirty="0"/>
            <a:t>Interventions</a:t>
          </a:r>
          <a:endParaRPr lang="fr-CH" sz="3200" dirty="0"/>
        </a:p>
      </dgm:t>
    </dgm:pt>
    <dgm:pt modelId="{152CBEC5-59F7-4473-A00F-700AAC721147}" type="parTrans" cxnId="{D4639ECA-6252-41BE-809C-D5C819A863B5}">
      <dgm:prSet/>
      <dgm:spPr/>
      <dgm:t>
        <a:bodyPr/>
        <a:lstStyle/>
        <a:p>
          <a:endParaRPr lang="fr-CH"/>
        </a:p>
      </dgm:t>
    </dgm:pt>
    <dgm:pt modelId="{9688895D-2E4D-4B76-9402-1A348C9074BA}" type="sibTrans" cxnId="{D4639ECA-6252-41BE-809C-D5C819A863B5}">
      <dgm:prSet/>
      <dgm:spPr/>
      <dgm:t>
        <a:bodyPr/>
        <a:lstStyle/>
        <a:p>
          <a:endParaRPr lang="fr-CH"/>
        </a:p>
      </dgm:t>
    </dgm:pt>
    <dgm:pt modelId="{13E9A6FB-C8D6-4E7C-91FC-4039A0EBC666}">
      <dgm:prSet phldrT="[Text]"/>
      <dgm:spPr/>
      <dgm:t>
        <a:bodyPr/>
        <a:lstStyle/>
        <a:p>
          <a:r>
            <a:rPr lang="en-US" dirty="0"/>
            <a:t>SMC</a:t>
          </a:r>
        </a:p>
        <a:p>
          <a:r>
            <a:rPr lang="en-US" i="1" dirty="0"/>
            <a:t>5 to 10 years old</a:t>
          </a:r>
        </a:p>
        <a:p>
          <a:r>
            <a:rPr lang="en-US" i="1" dirty="0"/>
            <a:t>5 cycles</a:t>
          </a:r>
          <a:endParaRPr lang="fr-CH" i="1" dirty="0"/>
        </a:p>
      </dgm:t>
    </dgm:pt>
    <dgm:pt modelId="{436A0206-9BEF-4183-8EC9-1A86B6B1CEB1}" type="parTrans" cxnId="{40757961-8A91-4E25-9F46-CD5BE506B681}">
      <dgm:prSet/>
      <dgm:spPr/>
      <dgm:t>
        <a:bodyPr/>
        <a:lstStyle/>
        <a:p>
          <a:endParaRPr lang="fr-CH"/>
        </a:p>
      </dgm:t>
    </dgm:pt>
    <dgm:pt modelId="{8E03BA22-72DD-484D-890E-B9748D3D6E47}" type="sibTrans" cxnId="{40757961-8A91-4E25-9F46-CD5BE506B681}">
      <dgm:prSet/>
      <dgm:spPr/>
      <dgm:t>
        <a:bodyPr/>
        <a:lstStyle/>
        <a:p>
          <a:endParaRPr lang="fr-CH"/>
        </a:p>
      </dgm:t>
    </dgm:pt>
    <dgm:pt modelId="{C61AE76B-4602-4FBE-ABCD-4F9C01E94DF4}">
      <dgm:prSet phldrT="[Text]"/>
      <dgm:spPr/>
      <dgm:t>
        <a:bodyPr/>
        <a:lstStyle/>
        <a:p>
          <a:r>
            <a:rPr lang="en-US" dirty="0"/>
            <a:t>PMC</a:t>
          </a:r>
          <a:endParaRPr lang="fr-CH" dirty="0"/>
        </a:p>
      </dgm:t>
    </dgm:pt>
    <dgm:pt modelId="{53CA82DD-6D28-48CC-9577-E7D67BDACFC5}" type="parTrans" cxnId="{63C62F69-97D2-47F9-858C-4C5A408100E5}">
      <dgm:prSet/>
      <dgm:spPr/>
      <dgm:t>
        <a:bodyPr/>
        <a:lstStyle/>
        <a:p>
          <a:endParaRPr lang="fr-CH"/>
        </a:p>
      </dgm:t>
    </dgm:pt>
    <dgm:pt modelId="{BDCDABD8-4BEB-4BE6-9AFC-7CA2F49FF8B0}" type="sibTrans" cxnId="{63C62F69-97D2-47F9-858C-4C5A408100E5}">
      <dgm:prSet/>
      <dgm:spPr/>
      <dgm:t>
        <a:bodyPr/>
        <a:lstStyle/>
        <a:p>
          <a:endParaRPr lang="fr-CH"/>
        </a:p>
      </dgm:t>
    </dgm:pt>
    <dgm:pt modelId="{78062985-BD12-4F15-B75B-00D3BAB59860}">
      <dgm:prSet phldrT="[Text]" custT="1"/>
      <dgm:spPr/>
      <dgm:t>
        <a:bodyPr anchor="ctr"/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New products</a:t>
          </a:r>
          <a:endParaRPr lang="fr-CH" sz="32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gm:t>
    </dgm:pt>
    <dgm:pt modelId="{383BD7FB-0C79-406C-B636-D2B73A7436D0}" type="parTrans" cxnId="{738D63DD-142F-497E-992B-66BAA3D9474E}">
      <dgm:prSet/>
      <dgm:spPr/>
      <dgm:t>
        <a:bodyPr/>
        <a:lstStyle/>
        <a:p>
          <a:endParaRPr lang="fr-CH"/>
        </a:p>
      </dgm:t>
    </dgm:pt>
    <dgm:pt modelId="{2C369C3A-446A-4724-BC6C-8EF33DF61E4E}" type="sibTrans" cxnId="{738D63DD-142F-497E-992B-66BAA3D9474E}">
      <dgm:prSet/>
      <dgm:spPr/>
      <dgm:t>
        <a:bodyPr/>
        <a:lstStyle/>
        <a:p>
          <a:endParaRPr lang="fr-CH"/>
        </a:p>
      </dgm:t>
    </dgm:pt>
    <dgm:pt modelId="{27AC992B-57C6-4631-9AC7-95ECAC6ED126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US" dirty="0"/>
            <a:t>mRNA vaccine</a:t>
          </a:r>
          <a:endParaRPr lang="fr-CH" dirty="0"/>
        </a:p>
      </dgm:t>
    </dgm:pt>
    <dgm:pt modelId="{F2FC772A-2ECF-42D7-BBCE-256CFE0B9BB3}" type="parTrans" cxnId="{FD3DD087-DEEA-497D-BC9A-C1EEC3770186}">
      <dgm:prSet/>
      <dgm:spPr/>
      <dgm:t>
        <a:bodyPr/>
        <a:lstStyle/>
        <a:p>
          <a:endParaRPr lang="fr-CH"/>
        </a:p>
      </dgm:t>
    </dgm:pt>
    <dgm:pt modelId="{B0F92312-7519-4499-AF36-9D13F7B8F2C5}" type="sibTrans" cxnId="{FD3DD087-DEEA-497D-BC9A-C1EEC3770186}">
      <dgm:prSet/>
      <dgm:spPr/>
      <dgm:t>
        <a:bodyPr/>
        <a:lstStyle/>
        <a:p>
          <a:endParaRPr lang="fr-CH"/>
        </a:p>
      </dgm:t>
    </dgm:pt>
    <dgm:pt modelId="{1F433AE5-A20B-42F3-95C1-B84386A64861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US" dirty="0"/>
            <a:t>Long acting injectable (LAI)</a:t>
          </a:r>
        </a:p>
      </dgm:t>
    </dgm:pt>
    <dgm:pt modelId="{C4DC9EE0-D5C8-47BB-8A3F-78535DC6050E}" type="parTrans" cxnId="{756CFF9C-B662-46D7-9A86-3ECDEBA58F8D}">
      <dgm:prSet/>
      <dgm:spPr/>
      <dgm:t>
        <a:bodyPr/>
        <a:lstStyle/>
        <a:p>
          <a:endParaRPr lang="fr-CH"/>
        </a:p>
      </dgm:t>
    </dgm:pt>
    <dgm:pt modelId="{C8F1C7F2-E9E4-42A2-9AC8-61C601C3F277}" type="sibTrans" cxnId="{756CFF9C-B662-46D7-9A86-3ECDEBA58F8D}">
      <dgm:prSet/>
      <dgm:spPr/>
      <dgm:t>
        <a:bodyPr/>
        <a:lstStyle/>
        <a:p>
          <a:endParaRPr lang="fr-CH"/>
        </a:p>
      </dgm:t>
    </dgm:pt>
    <dgm:pt modelId="{F2269FDA-2B8C-4655-8F25-BB4B081148BC}">
      <dgm:prSet phldrT="[Text]"/>
      <dgm:spPr/>
      <dgm:t>
        <a:bodyPr/>
        <a:lstStyle/>
        <a:p>
          <a:r>
            <a:rPr lang="en-US" dirty="0"/>
            <a:t>RTS,S vaccine</a:t>
          </a:r>
          <a:endParaRPr lang="fr-CH" dirty="0"/>
        </a:p>
      </dgm:t>
    </dgm:pt>
    <dgm:pt modelId="{028D2195-A801-4648-A278-2A5870816B24}" type="parTrans" cxnId="{FE1B82A7-15D0-474D-AB73-D915F6F2F6F3}">
      <dgm:prSet/>
      <dgm:spPr/>
      <dgm:t>
        <a:bodyPr/>
        <a:lstStyle/>
        <a:p>
          <a:endParaRPr lang="fr-CH"/>
        </a:p>
      </dgm:t>
    </dgm:pt>
    <dgm:pt modelId="{9ADC452B-5362-487C-8F8B-57A35171BEDC}" type="sibTrans" cxnId="{FE1B82A7-15D0-474D-AB73-D915F6F2F6F3}">
      <dgm:prSet/>
      <dgm:spPr/>
      <dgm:t>
        <a:bodyPr/>
        <a:lstStyle/>
        <a:p>
          <a:endParaRPr lang="fr-CH"/>
        </a:p>
      </dgm:t>
    </dgm:pt>
    <dgm:pt modelId="{42F78988-E220-4F8E-BCF5-BC844E9A190E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US" dirty="0"/>
            <a:t>Monoclonal antibodies</a:t>
          </a:r>
        </a:p>
      </dgm:t>
    </dgm:pt>
    <dgm:pt modelId="{8A82D335-A9F9-42A2-92FF-17B47B5C8F43}" type="parTrans" cxnId="{EC542E26-7039-4777-9CA3-ED28FFEC02E5}">
      <dgm:prSet/>
      <dgm:spPr/>
      <dgm:t>
        <a:bodyPr/>
        <a:lstStyle/>
        <a:p>
          <a:endParaRPr lang="fr-CH"/>
        </a:p>
      </dgm:t>
    </dgm:pt>
    <dgm:pt modelId="{DDC211CA-6092-4BBD-96AA-3BE876CDE1D7}" type="sibTrans" cxnId="{EC542E26-7039-4777-9CA3-ED28FFEC02E5}">
      <dgm:prSet/>
      <dgm:spPr/>
      <dgm:t>
        <a:bodyPr/>
        <a:lstStyle/>
        <a:p>
          <a:endParaRPr lang="fr-CH"/>
        </a:p>
      </dgm:t>
    </dgm:pt>
    <dgm:pt modelId="{03260C68-6500-4607-8ABA-876C58FECA87}" type="pres">
      <dgm:prSet presAssocID="{6B3DDF6A-BC37-4879-9D62-39BC685FE1C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6E25065-649D-47A0-9C5F-432B86C9BCF2}" type="pres">
      <dgm:prSet presAssocID="{FCBC2171-5268-47B8-B72E-B92ADBBCAB11}" presName="root" presStyleCnt="0"/>
      <dgm:spPr/>
    </dgm:pt>
    <dgm:pt modelId="{03D20FBD-3F22-4C50-A895-B7C42C767462}" type="pres">
      <dgm:prSet presAssocID="{FCBC2171-5268-47B8-B72E-B92ADBBCAB11}" presName="rootComposite" presStyleCnt="0"/>
      <dgm:spPr/>
    </dgm:pt>
    <dgm:pt modelId="{2674D8C8-BAD9-4EFB-B570-FE9458BCE5E5}" type="pres">
      <dgm:prSet presAssocID="{FCBC2171-5268-47B8-B72E-B92ADBBCAB11}" presName="rootText" presStyleLbl="node1" presStyleIdx="0" presStyleCnt="2" custScaleX="157839"/>
      <dgm:spPr/>
    </dgm:pt>
    <dgm:pt modelId="{3AD445EF-3E1D-4EA6-8DFE-FA59F30CD9F5}" type="pres">
      <dgm:prSet presAssocID="{FCBC2171-5268-47B8-B72E-B92ADBBCAB11}" presName="rootConnector" presStyleLbl="node1" presStyleIdx="0" presStyleCnt="2"/>
      <dgm:spPr/>
    </dgm:pt>
    <dgm:pt modelId="{6A7823FB-4E63-4972-A759-C56BFB83EC0A}" type="pres">
      <dgm:prSet presAssocID="{FCBC2171-5268-47B8-B72E-B92ADBBCAB11}" presName="childShape" presStyleCnt="0"/>
      <dgm:spPr/>
    </dgm:pt>
    <dgm:pt modelId="{F6A95A60-22D3-4D8D-B89F-59A4560FD1F6}" type="pres">
      <dgm:prSet presAssocID="{436A0206-9BEF-4183-8EC9-1A86B6B1CEB1}" presName="Name13" presStyleLbl="parChTrans1D2" presStyleIdx="0" presStyleCnt="6"/>
      <dgm:spPr/>
    </dgm:pt>
    <dgm:pt modelId="{9F8DFAB9-8F9A-4F83-9EF4-CF42C15D9173}" type="pres">
      <dgm:prSet presAssocID="{13E9A6FB-C8D6-4E7C-91FC-4039A0EBC666}" presName="childText" presStyleLbl="bgAcc1" presStyleIdx="0" presStyleCnt="6" custScaleX="150872">
        <dgm:presLayoutVars>
          <dgm:bulletEnabled val="1"/>
        </dgm:presLayoutVars>
      </dgm:prSet>
      <dgm:spPr/>
    </dgm:pt>
    <dgm:pt modelId="{4BE80DE4-C4D4-4EC8-9CAE-1DE3277119C2}" type="pres">
      <dgm:prSet presAssocID="{53CA82DD-6D28-48CC-9577-E7D67BDACFC5}" presName="Name13" presStyleLbl="parChTrans1D2" presStyleIdx="1" presStyleCnt="6"/>
      <dgm:spPr/>
    </dgm:pt>
    <dgm:pt modelId="{4666F2EC-70BE-43A7-AABC-E533BC90CF1A}" type="pres">
      <dgm:prSet presAssocID="{C61AE76B-4602-4FBE-ABCD-4F9C01E94DF4}" presName="childText" presStyleLbl="bgAcc1" presStyleIdx="1" presStyleCnt="6" custScaleX="150872">
        <dgm:presLayoutVars>
          <dgm:bulletEnabled val="1"/>
        </dgm:presLayoutVars>
      </dgm:prSet>
      <dgm:spPr/>
    </dgm:pt>
    <dgm:pt modelId="{A49F056A-6E8A-4106-931C-BC11BC31BABC}" type="pres">
      <dgm:prSet presAssocID="{028D2195-A801-4648-A278-2A5870816B24}" presName="Name13" presStyleLbl="parChTrans1D2" presStyleIdx="2" presStyleCnt="6"/>
      <dgm:spPr/>
    </dgm:pt>
    <dgm:pt modelId="{3CB81390-1492-4FDB-BBAC-B1469C88246A}" type="pres">
      <dgm:prSet presAssocID="{F2269FDA-2B8C-4655-8F25-BB4B081148BC}" presName="childText" presStyleLbl="bgAcc1" presStyleIdx="2" presStyleCnt="6" custScaleX="150872">
        <dgm:presLayoutVars>
          <dgm:bulletEnabled val="1"/>
        </dgm:presLayoutVars>
      </dgm:prSet>
      <dgm:spPr/>
    </dgm:pt>
    <dgm:pt modelId="{F2F120C6-C113-411A-AD6C-95AB12AC9097}" type="pres">
      <dgm:prSet presAssocID="{78062985-BD12-4F15-B75B-00D3BAB59860}" presName="root" presStyleCnt="0"/>
      <dgm:spPr/>
    </dgm:pt>
    <dgm:pt modelId="{962059B7-15E6-4B44-92D0-867E957070C9}" type="pres">
      <dgm:prSet presAssocID="{78062985-BD12-4F15-B75B-00D3BAB59860}" presName="rootComposite" presStyleCnt="0"/>
      <dgm:spPr/>
    </dgm:pt>
    <dgm:pt modelId="{8D313A11-15C1-40D2-9EA6-57BB2FB03399}" type="pres">
      <dgm:prSet presAssocID="{78062985-BD12-4F15-B75B-00D3BAB59860}" presName="rootText" presStyleLbl="node1" presStyleIdx="1" presStyleCnt="2" custScaleX="167161" custLinFactNeighborX="40501" custLinFactNeighborY="787"/>
      <dgm:spPr/>
    </dgm:pt>
    <dgm:pt modelId="{EF9314ED-8C96-454D-B78C-F15BC9DCE892}" type="pres">
      <dgm:prSet presAssocID="{78062985-BD12-4F15-B75B-00D3BAB59860}" presName="rootConnector" presStyleLbl="node1" presStyleIdx="1" presStyleCnt="2"/>
      <dgm:spPr/>
    </dgm:pt>
    <dgm:pt modelId="{DCCBE965-2D13-4FCF-9BBC-9153FDAE59E6}" type="pres">
      <dgm:prSet presAssocID="{78062985-BD12-4F15-B75B-00D3BAB59860}" presName="childShape" presStyleCnt="0"/>
      <dgm:spPr/>
    </dgm:pt>
    <dgm:pt modelId="{DF29DEE0-3784-42D7-9F63-0E57B6C1130F}" type="pres">
      <dgm:prSet presAssocID="{F2FC772A-2ECF-42D7-BBCE-256CFE0B9BB3}" presName="Name13" presStyleLbl="parChTrans1D2" presStyleIdx="3" presStyleCnt="6"/>
      <dgm:spPr/>
    </dgm:pt>
    <dgm:pt modelId="{AE0C03F8-8542-47AD-84BC-55D72C12AC7C}" type="pres">
      <dgm:prSet presAssocID="{27AC992B-57C6-4631-9AC7-95ECAC6ED126}" presName="childText" presStyleLbl="bgAcc1" presStyleIdx="3" presStyleCnt="6" custScaleX="167600" custLinFactNeighborX="50632" custLinFactNeighborY="190">
        <dgm:presLayoutVars>
          <dgm:bulletEnabled val="1"/>
        </dgm:presLayoutVars>
      </dgm:prSet>
      <dgm:spPr/>
    </dgm:pt>
    <dgm:pt modelId="{1D2706CE-1683-431E-80C8-C6327A7FEE04}" type="pres">
      <dgm:prSet presAssocID="{C4DC9EE0-D5C8-47BB-8A3F-78535DC6050E}" presName="Name13" presStyleLbl="parChTrans1D2" presStyleIdx="4" presStyleCnt="6"/>
      <dgm:spPr/>
    </dgm:pt>
    <dgm:pt modelId="{F42AA9C6-37C6-48AE-9C40-863461BD3BE0}" type="pres">
      <dgm:prSet presAssocID="{1F433AE5-A20B-42F3-95C1-B84386A64861}" presName="childText" presStyleLbl="bgAcc1" presStyleIdx="4" presStyleCnt="6" custScaleX="167600" custLinFactNeighborX="50632" custLinFactNeighborY="190">
        <dgm:presLayoutVars>
          <dgm:bulletEnabled val="1"/>
        </dgm:presLayoutVars>
      </dgm:prSet>
      <dgm:spPr/>
    </dgm:pt>
    <dgm:pt modelId="{79BA583E-D0F8-4288-90CC-9084FA5259AB}" type="pres">
      <dgm:prSet presAssocID="{8A82D335-A9F9-42A2-92FF-17B47B5C8F43}" presName="Name13" presStyleLbl="parChTrans1D2" presStyleIdx="5" presStyleCnt="6"/>
      <dgm:spPr/>
    </dgm:pt>
    <dgm:pt modelId="{3F2DA2DB-9ABF-46B5-8778-BF3C7A7AFF5F}" type="pres">
      <dgm:prSet presAssocID="{42F78988-E220-4F8E-BCF5-BC844E9A190E}" presName="childText" presStyleLbl="bgAcc1" presStyleIdx="5" presStyleCnt="6" custScaleX="167600" custLinFactNeighborX="50632" custLinFactNeighborY="190">
        <dgm:presLayoutVars>
          <dgm:bulletEnabled val="1"/>
        </dgm:presLayoutVars>
      </dgm:prSet>
      <dgm:spPr/>
    </dgm:pt>
  </dgm:ptLst>
  <dgm:cxnLst>
    <dgm:cxn modelId="{2C072E10-ABB8-4B11-9C58-D6F5C9E281E0}" type="presOf" srcId="{C61AE76B-4602-4FBE-ABCD-4F9C01E94DF4}" destId="{4666F2EC-70BE-43A7-AABC-E533BC90CF1A}" srcOrd="0" destOrd="0" presId="urn:microsoft.com/office/officeart/2005/8/layout/hierarchy3"/>
    <dgm:cxn modelId="{5F137B1B-C24F-4198-A0D5-CDDC21D8E966}" type="presOf" srcId="{8A82D335-A9F9-42A2-92FF-17B47B5C8F43}" destId="{79BA583E-D0F8-4288-90CC-9084FA5259AB}" srcOrd="0" destOrd="0" presId="urn:microsoft.com/office/officeart/2005/8/layout/hierarchy3"/>
    <dgm:cxn modelId="{EC542E26-7039-4777-9CA3-ED28FFEC02E5}" srcId="{78062985-BD12-4F15-B75B-00D3BAB59860}" destId="{42F78988-E220-4F8E-BCF5-BC844E9A190E}" srcOrd="2" destOrd="0" parTransId="{8A82D335-A9F9-42A2-92FF-17B47B5C8F43}" sibTransId="{DDC211CA-6092-4BBD-96AA-3BE876CDE1D7}"/>
    <dgm:cxn modelId="{4298DB2C-BAC4-4B68-9517-3BEE86E978BB}" type="presOf" srcId="{C4DC9EE0-D5C8-47BB-8A3F-78535DC6050E}" destId="{1D2706CE-1683-431E-80C8-C6327A7FEE04}" srcOrd="0" destOrd="0" presId="urn:microsoft.com/office/officeart/2005/8/layout/hierarchy3"/>
    <dgm:cxn modelId="{C578EE3A-D159-47DC-8BC3-DC6A1FCA0B51}" type="presOf" srcId="{42F78988-E220-4F8E-BCF5-BC844E9A190E}" destId="{3F2DA2DB-9ABF-46B5-8778-BF3C7A7AFF5F}" srcOrd="0" destOrd="0" presId="urn:microsoft.com/office/officeart/2005/8/layout/hierarchy3"/>
    <dgm:cxn modelId="{40757961-8A91-4E25-9F46-CD5BE506B681}" srcId="{FCBC2171-5268-47B8-B72E-B92ADBBCAB11}" destId="{13E9A6FB-C8D6-4E7C-91FC-4039A0EBC666}" srcOrd="0" destOrd="0" parTransId="{436A0206-9BEF-4183-8EC9-1A86B6B1CEB1}" sibTransId="{8E03BA22-72DD-484D-890E-B9748D3D6E47}"/>
    <dgm:cxn modelId="{601DE943-6441-481A-89B0-BD5AA629496A}" type="presOf" srcId="{13E9A6FB-C8D6-4E7C-91FC-4039A0EBC666}" destId="{9F8DFAB9-8F9A-4F83-9EF4-CF42C15D9173}" srcOrd="0" destOrd="0" presId="urn:microsoft.com/office/officeart/2005/8/layout/hierarchy3"/>
    <dgm:cxn modelId="{63C62F69-97D2-47F9-858C-4C5A408100E5}" srcId="{FCBC2171-5268-47B8-B72E-B92ADBBCAB11}" destId="{C61AE76B-4602-4FBE-ABCD-4F9C01E94DF4}" srcOrd="1" destOrd="0" parTransId="{53CA82DD-6D28-48CC-9577-E7D67BDACFC5}" sibTransId="{BDCDABD8-4BEB-4BE6-9AFC-7CA2F49FF8B0}"/>
    <dgm:cxn modelId="{14F9196D-60A6-4BD0-9304-501AB69CE1DD}" type="presOf" srcId="{6B3DDF6A-BC37-4879-9D62-39BC685FE1CE}" destId="{03260C68-6500-4607-8ABA-876C58FECA87}" srcOrd="0" destOrd="0" presId="urn:microsoft.com/office/officeart/2005/8/layout/hierarchy3"/>
    <dgm:cxn modelId="{8C667F4D-D6DA-47B6-9A00-7B9BD151529E}" type="presOf" srcId="{436A0206-9BEF-4183-8EC9-1A86B6B1CEB1}" destId="{F6A95A60-22D3-4D8D-B89F-59A4560FD1F6}" srcOrd="0" destOrd="0" presId="urn:microsoft.com/office/officeart/2005/8/layout/hierarchy3"/>
    <dgm:cxn modelId="{84778353-A551-4165-83B2-5664E1150F53}" type="presOf" srcId="{78062985-BD12-4F15-B75B-00D3BAB59860}" destId="{8D313A11-15C1-40D2-9EA6-57BB2FB03399}" srcOrd="0" destOrd="0" presId="urn:microsoft.com/office/officeart/2005/8/layout/hierarchy3"/>
    <dgm:cxn modelId="{6F886355-35BD-47C4-A4C6-FED6A4492683}" type="presOf" srcId="{1F433AE5-A20B-42F3-95C1-B84386A64861}" destId="{F42AA9C6-37C6-48AE-9C40-863461BD3BE0}" srcOrd="0" destOrd="0" presId="urn:microsoft.com/office/officeart/2005/8/layout/hierarchy3"/>
    <dgm:cxn modelId="{8CC96B85-2F9E-46ED-922A-1C69018FE0FA}" type="presOf" srcId="{FCBC2171-5268-47B8-B72E-B92ADBBCAB11}" destId="{3AD445EF-3E1D-4EA6-8DFE-FA59F30CD9F5}" srcOrd="1" destOrd="0" presId="urn:microsoft.com/office/officeart/2005/8/layout/hierarchy3"/>
    <dgm:cxn modelId="{FD3DD087-DEEA-497D-BC9A-C1EEC3770186}" srcId="{78062985-BD12-4F15-B75B-00D3BAB59860}" destId="{27AC992B-57C6-4631-9AC7-95ECAC6ED126}" srcOrd="0" destOrd="0" parTransId="{F2FC772A-2ECF-42D7-BBCE-256CFE0B9BB3}" sibTransId="{B0F92312-7519-4499-AF36-9D13F7B8F2C5}"/>
    <dgm:cxn modelId="{3C0BCE89-0C8A-4C1C-94CC-B87F692A402D}" type="presOf" srcId="{27AC992B-57C6-4631-9AC7-95ECAC6ED126}" destId="{AE0C03F8-8542-47AD-84BC-55D72C12AC7C}" srcOrd="0" destOrd="0" presId="urn:microsoft.com/office/officeart/2005/8/layout/hierarchy3"/>
    <dgm:cxn modelId="{A4BBF493-EEA2-4FFC-AD89-5306442E3871}" type="presOf" srcId="{78062985-BD12-4F15-B75B-00D3BAB59860}" destId="{EF9314ED-8C96-454D-B78C-F15BC9DCE892}" srcOrd="1" destOrd="0" presId="urn:microsoft.com/office/officeart/2005/8/layout/hierarchy3"/>
    <dgm:cxn modelId="{756CFF9C-B662-46D7-9A86-3ECDEBA58F8D}" srcId="{78062985-BD12-4F15-B75B-00D3BAB59860}" destId="{1F433AE5-A20B-42F3-95C1-B84386A64861}" srcOrd="1" destOrd="0" parTransId="{C4DC9EE0-D5C8-47BB-8A3F-78535DC6050E}" sibTransId="{C8F1C7F2-E9E4-42A2-9AC8-61C601C3F277}"/>
    <dgm:cxn modelId="{FE1B82A7-15D0-474D-AB73-D915F6F2F6F3}" srcId="{FCBC2171-5268-47B8-B72E-B92ADBBCAB11}" destId="{F2269FDA-2B8C-4655-8F25-BB4B081148BC}" srcOrd="2" destOrd="0" parTransId="{028D2195-A801-4648-A278-2A5870816B24}" sibTransId="{9ADC452B-5362-487C-8F8B-57A35171BEDC}"/>
    <dgm:cxn modelId="{0A816FBB-0143-47D5-A7C1-41E973537CFD}" type="presOf" srcId="{F2FC772A-2ECF-42D7-BBCE-256CFE0B9BB3}" destId="{DF29DEE0-3784-42D7-9F63-0E57B6C1130F}" srcOrd="0" destOrd="0" presId="urn:microsoft.com/office/officeart/2005/8/layout/hierarchy3"/>
    <dgm:cxn modelId="{2741AEBE-7FA4-473E-BCAC-AEDD36FF2162}" type="presOf" srcId="{028D2195-A801-4648-A278-2A5870816B24}" destId="{A49F056A-6E8A-4106-931C-BC11BC31BABC}" srcOrd="0" destOrd="0" presId="urn:microsoft.com/office/officeart/2005/8/layout/hierarchy3"/>
    <dgm:cxn modelId="{D11D28C0-31DE-4355-BF14-66A4A4976DCA}" type="presOf" srcId="{53CA82DD-6D28-48CC-9577-E7D67BDACFC5}" destId="{4BE80DE4-C4D4-4EC8-9CAE-1DE3277119C2}" srcOrd="0" destOrd="0" presId="urn:microsoft.com/office/officeart/2005/8/layout/hierarchy3"/>
    <dgm:cxn modelId="{D4639ECA-6252-41BE-809C-D5C819A863B5}" srcId="{6B3DDF6A-BC37-4879-9D62-39BC685FE1CE}" destId="{FCBC2171-5268-47B8-B72E-B92ADBBCAB11}" srcOrd="0" destOrd="0" parTransId="{152CBEC5-59F7-4473-A00F-700AAC721147}" sibTransId="{9688895D-2E4D-4B76-9402-1A348C9074BA}"/>
    <dgm:cxn modelId="{FF8753DC-F82E-400D-A30A-C1714C431FA9}" type="presOf" srcId="{F2269FDA-2B8C-4655-8F25-BB4B081148BC}" destId="{3CB81390-1492-4FDB-BBAC-B1469C88246A}" srcOrd="0" destOrd="0" presId="urn:microsoft.com/office/officeart/2005/8/layout/hierarchy3"/>
    <dgm:cxn modelId="{738D63DD-142F-497E-992B-66BAA3D9474E}" srcId="{6B3DDF6A-BC37-4879-9D62-39BC685FE1CE}" destId="{78062985-BD12-4F15-B75B-00D3BAB59860}" srcOrd="1" destOrd="0" parTransId="{383BD7FB-0C79-406C-B636-D2B73A7436D0}" sibTransId="{2C369C3A-446A-4724-BC6C-8EF33DF61E4E}"/>
    <dgm:cxn modelId="{379C30E1-F626-4ED6-85EF-E75DBE0AFE86}" type="presOf" srcId="{FCBC2171-5268-47B8-B72E-B92ADBBCAB11}" destId="{2674D8C8-BAD9-4EFB-B570-FE9458BCE5E5}" srcOrd="0" destOrd="0" presId="urn:microsoft.com/office/officeart/2005/8/layout/hierarchy3"/>
    <dgm:cxn modelId="{140DB71C-1B5A-4658-B57C-6179F8F058DA}" type="presParOf" srcId="{03260C68-6500-4607-8ABA-876C58FECA87}" destId="{56E25065-649D-47A0-9C5F-432B86C9BCF2}" srcOrd="0" destOrd="0" presId="urn:microsoft.com/office/officeart/2005/8/layout/hierarchy3"/>
    <dgm:cxn modelId="{F5D76D4B-D462-485F-8AA1-60DBB9EFAFFA}" type="presParOf" srcId="{56E25065-649D-47A0-9C5F-432B86C9BCF2}" destId="{03D20FBD-3F22-4C50-A895-B7C42C767462}" srcOrd="0" destOrd="0" presId="urn:microsoft.com/office/officeart/2005/8/layout/hierarchy3"/>
    <dgm:cxn modelId="{CBD9597E-E0A8-413C-ABCF-D69C9EBFB779}" type="presParOf" srcId="{03D20FBD-3F22-4C50-A895-B7C42C767462}" destId="{2674D8C8-BAD9-4EFB-B570-FE9458BCE5E5}" srcOrd="0" destOrd="0" presId="urn:microsoft.com/office/officeart/2005/8/layout/hierarchy3"/>
    <dgm:cxn modelId="{AD4C3CDE-A117-4982-A54F-9B636D454460}" type="presParOf" srcId="{03D20FBD-3F22-4C50-A895-B7C42C767462}" destId="{3AD445EF-3E1D-4EA6-8DFE-FA59F30CD9F5}" srcOrd="1" destOrd="0" presId="urn:microsoft.com/office/officeart/2005/8/layout/hierarchy3"/>
    <dgm:cxn modelId="{7A9B375B-1D8A-4E54-B670-310B03F4912D}" type="presParOf" srcId="{56E25065-649D-47A0-9C5F-432B86C9BCF2}" destId="{6A7823FB-4E63-4972-A759-C56BFB83EC0A}" srcOrd="1" destOrd="0" presId="urn:microsoft.com/office/officeart/2005/8/layout/hierarchy3"/>
    <dgm:cxn modelId="{E4FC2AFD-A188-44DE-95B1-32B6148F83B4}" type="presParOf" srcId="{6A7823FB-4E63-4972-A759-C56BFB83EC0A}" destId="{F6A95A60-22D3-4D8D-B89F-59A4560FD1F6}" srcOrd="0" destOrd="0" presId="urn:microsoft.com/office/officeart/2005/8/layout/hierarchy3"/>
    <dgm:cxn modelId="{AD708FEE-8394-455C-AE03-B9BE423CA548}" type="presParOf" srcId="{6A7823FB-4E63-4972-A759-C56BFB83EC0A}" destId="{9F8DFAB9-8F9A-4F83-9EF4-CF42C15D9173}" srcOrd="1" destOrd="0" presId="urn:microsoft.com/office/officeart/2005/8/layout/hierarchy3"/>
    <dgm:cxn modelId="{31A0E5F4-A73C-43B5-BC53-6BAF1476AC98}" type="presParOf" srcId="{6A7823FB-4E63-4972-A759-C56BFB83EC0A}" destId="{4BE80DE4-C4D4-4EC8-9CAE-1DE3277119C2}" srcOrd="2" destOrd="0" presId="urn:microsoft.com/office/officeart/2005/8/layout/hierarchy3"/>
    <dgm:cxn modelId="{A50F034D-19A1-4811-A279-34A1C7E5B8D8}" type="presParOf" srcId="{6A7823FB-4E63-4972-A759-C56BFB83EC0A}" destId="{4666F2EC-70BE-43A7-AABC-E533BC90CF1A}" srcOrd="3" destOrd="0" presId="urn:microsoft.com/office/officeart/2005/8/layout/hierarchy3"/>
    <dgm:cxn modelId="{8159D1C1-78CD-4BEF-92BD-7556C69600B3}" type="presParOf" srcId="{6A7823FB-4E63-4972-A759-C56BFB83EC0A}" destId="{A49F056A-6E8A-4106-931C-BC11BC31BABC}" srcOrd="4" destOrd="0" presId="urn:microsoft.com/office/officeart/2005/8/layout/hierarchy3"/>
    <dgm:cxn modelId="{2C55CBBF-E3E9-4665-AB70-6D775E242E31}" type="presParOf" srcId="{6A7823FB-4E63-4972-A759-C56BFB83EC0A}" destId="{3CB81390-1492-4FDB-BBAC-B1469C88246A}" srcOrd="5" destOrd="0" presId="urn:microsoft.com/office/officeart/2005/8/layout/hierarchy3"/>
    <dgm:cxn modelId="{03663F95-664C-41AF-8BEE-46D369F98EAF}" type="presParOf" srcId="{03260C68-6500-4607-8ABA-876C58FECA87}" destId="{F2F120C6-C113-411A-AD6C-95AB12AC9097}" srcOrd="1" destOrd="0" presId="urn:microsoft.com/office/officeart/2005/8/layout/hierarchy3"/>
    <dgm:cxn modelId="{EF412DA1-9BAE-4B89-8E03-692955F385C5}" type="presParOf" srcId="{F2F120C6-C113-411A-AD6C-95AB12AC9097}" destId="{962059B7-15E6-4B44-92D0-867E957070C9}" srcOrd="0" destOrd="0" presId="urn:microsoft.com/office/officeart/2005/8/layout/hierarchy3"/>
    <dgm:cxn modelId="{2AA15A7A-5727-4A9E-8D62-93F927FCA98E}" type="presParOf" srcId="{962059B7-15E6-4B44-92D0-867E957070C9}" destId="{8D313A11-15C1-40D2-9EA6-57BB2FB03399}" srcOrd="0" destOrd="0" presId="urn:microsoft.com/office/officeart/2005/8/layout/hierarchy3"/>
    <dgm:cxn modelId="{8C178AE9-511C-42C4-92D9-6956EB4C7AA3}" type="presParOf" srcId="{962059B7-15E6-4B44-92D0-867E957070C9}" destId="{EF9314ED-8C96-454D-B78C-F15BC9DCE892}" srcOrd="1" destOrd="0" presId="urn:microsoft.com/office/officeart/2005/8/layout/hierarchy3"/>
    <dgm:cxn modelId="{6E4A0DB9-5898-4D0E-A8F5-058442C53A36}" type="presParOf" srcId="{F2F120C6-C113-411A-AD6C-95AB12AC9097}" destId="{DCCBE965-2D13-4FCF-9BBC-9153FDAE59E6}" srcOrd="1" destOrd="0" presId="urn:microsoft.com/office/officeart/2005/8/layout/hierarchy3"/>
    <dgm:cxn modelId="{8B1CB561-92E1-45E3-AB88-B0CC6E7E3950}" type="presParOf" srcId="{DCCBE965-2D13-4FCF-9BBC-9153FDAE59E6}" destId="{DF29DEE0-3784-42D7-9F63-0E57B6C1130F}" srcOrd="0" destOrd="0" presId="urn:microsoft.com/office/officeart/2005/8/layout/hierarchy3"/>
    <dgm:cxn modelId="{F8196F7C-8195-4917-8F72-58B76B1BF719}" type="presParOf" srcId="{DCCBE965-2D13-4FCF-9BBC-9153FDAE59E6}" destId="{AE0C03F8-8542-47AD-84BC-55D72C12AC7C}" srcOrd="1" destOrd="0" presId="urn:microsoft.com/office/officeart/2005/8/layout/hierarchy3"/>
    <dgm:cxn modelId="{1D97963B-88A3-4D40-9670-A57A9CD30688}" type="presParOf" srcId="{DCCBE965-2D13-4FCF-9BBC-9153FDAE59E6}" destId="{1D2706CE-1683-431E-80C8-C6327A7FEE04}" srcOrd="2" destOrd="0" presId="urn:microsoft.com/office/officeart/2005/8/layout/hierarchy3"/>
    <dgm:cxn modelId="{0120EBA1-E841-4484-A3B5-379E7B0EF6CC}" type="presParOf" srcId="{DCCBE965-2D13-4FCF-9BBC-9153FDAE59E6}" destId="{F42AA9C6-37C6-48AE-9C40-863461BD3BE0}" srcOrd="3" destOrd="0" presId="urn:microsoft.com/office/officeart/2005/8/layout/hierarchy3"/>
    <dgm:cxn modelId="{CA0D1915-F0F9-4439-A156-FD55F1C80290}" type="presParOf" srcId="{DCCBE965-2D13-4FCF-9BBC-9153FDAE59E6}" destId="{79BA583E-D0F8-4288-90CC-9084FA5259AB}" srcOrd="4" destOrd="0" presId="urn:microsoft.com/office/officeart/2005/8/layout/hierarchy3"/>
    <dgm:cxn modelId="{90DF0C26-D20C-4967-A24D-1827529BD5F1}" type="presParOf" srcId="{DCCBE965-2D13-4FCF-9BBC-9153FDAE59E6}" destId="{3F2DA2DB-9ABF-46B5-8778-BF3C7A7AFF5F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C976B31-A59B-42A6-99B4-039A4CD812E7}" type="doc">
      <dgm:prSet loTypeId="urn:microsoft.com/office/officeart/2009/3/layout/PlusandMinus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9C8FD4C2-4AFA-4101-B9C1-CCAE91DCCE9D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US" sz="2000" dirty="0"/>
            <a:t>Trust (trials)</a:t>
          </a:r>
        </a:p>
        <a:p>
          <a:pPr>
            <a:lnSpc>
              <a:spcPct val="150000"/>
            </a:lnSpc>
          </a:pPr>
          <a:r>
            <a:rPr lang="en-US" sz="2000" dirty="0"/>
            <a:t>Awareness</a:t>
          </a:r>
        </a:p>
        <a:p>
          <a:pPr>
            <a:lnSpc>
              <a:spcPct val="150000"/>
            </a:lnSpc>
          </a:pPr>
          <a:r>
            <a:rPr lang="en-US" sz="2000" dirty="0"/>
            <a:t>Support (capacity building, financing)</a:t>
          </a:r>
        </a:p>
        <a:p>
          <a:pPr>
            <a:lnSpc>
              <a:spcPct val="150000"/>
            </a:lnSpc>
          </a:pPr>
          <a:r>
            <a:rPr lang="en-US" sz="2000" dirty="0"/>
            <a:t>Ownership (from NMCPs)</a:t>
          </a:r>
        </a:p>
        <a:p>
          <a:pPr>
            <a:lnSpc>
              <a:spcPct val="150000"/>
            </a:lnSpc>
          </a:pPr>
          <a:endParaRPr lang="en-US" sz="2000" dirty="0"/>
        </a:p>
        <a:p>
          <a:pPr>
            <a:lnSpc>
              <a:spcPct val="150000"/>
            </a:lnSpc>
          </a:pPr>
          <a:endParaRPr lang="fr-CH" sz="2000" dirty="0"/>
        </a:p>
      </dgm:t>
    </dgm:pt>
    <dgm:pt modelId="{87FCFC58-264D-4AA4-BF2A-3BFD949DFA3F}" type="parTrans" cxnId="{925C31F9-9457-42D7-8FAF-5A5BE9D5B4DF}">
      <dgm:prSet/>
      <dgm:spPr/>
      <dgm:t>
        <a:bodyPr/>
        <a:lstStyle/>
        <a:p>
          <a:endParaRPr lang="fr-CH"/>
        </a:p>
      </dgm:t>
    </dgm:pt>
    <dgm:pt modelId="{1BEC6DA7-EA8C-459D-AD78-FFD39FEC3D6E}" type="sibTrans" cxnId="{925C31F9-9457-42D7-8FAF-5A5BE9D5B4DF}">
      <dgm:prSet/>
      <dgm:spPr/>
      <dgm:t>
        <a:bodyPr/>
        <a:lstStyle/>
        <a:p>
          <a:endParaRPr lang="fr-CH"/>
        </a:p>
      </dgm:t>
    </dgm:pt>
    <dgm:pt modelId="{604AFE37-DB42-4954-93F8-8CECBE27FD5F}">
      <dgm:prSet phldrT="[Text]" custT="1"/>
      <dgm:spPr/>
      <dgm:t>
        <a:bodyPr/>
        <a:lstStyle/>
        <a:p>
          <a:pPr algn="r">
            <a:lnSpc>
              <a:spcPct val="150000"/>
            </a:lnSpc>
          </a:pPr>
          <a:r>
            <a:rPr lang="en-US" sz="2000" dirty="0"/>
            <a:t>Policy (lack of)</a:t>
          </a:r>
        </a:p>
        <a:p>
          <a:pPr algn="r">
            <a:lnSpc>
              <a:spcPct val="150000"/>
            </a:lnSpc>
          </a:pPr>
          <a:r>
            <a:rPr lang="en-US" sz="2000" dirty="0"/>
            <a:t>Logistics (procurement)</a:t>
          </a:r>
        </a:p>
        <a:p>
          <a:pPr algn="r">
            <a:lnSpc>
              <a:spcPct val="150000"/>
            </a:lnSpc>
          </a:pPr>
          <a:r>
            <a:rPr lang="en-US" sz="2000" dirty="0"/>
            <a:t>Finances (resource mobilization and allocation)</a:t>
          </a:r>
        </a:p>
        <a:p>
          <a:pPr algn="r">
            <a:lnSpc>
              <a:spcPct val="150000"/>
            </a:lnSpc>
          </a:pPr>
          <a:r>
            <a:rPr lang="en-US" sz="2000" dirty="0"/>
            <a:t>Acceptance and adherence</a:t>
          </a:r>
        </a:p>
        <a:p>
          <a:pPr algn="l">
            <a:lnSpc>
              <a:spcPct val="150000"/>
            </a:lnSpc>
          </a:pPr>
          <a:endParaRPr lang="en-US" sz="2000" dirty="0"/>
        </a:p>
        <a:p>
          <a:pPr algn="l">
            <a:lnSpc>
              <a:spcPct val="150000"/>
            </a:lnSpc>
          </a:pPr>
          <a:endParaRPr lang="en-US" sz="2000" dirty="0"/>
        </a:p>
        <a:p>
          <a:pPr algn="l">
            <a:lnSpc>
              <a:spcPct val="150000"/>
            </a:lnSpc>
          </a:pPr>
          <a:endParaRPr lang="fr-CH" sz="2000" dirty="0"/>
        </a:p>
      </dgm:t>
    </dgm:pt>
    <dgm:pt modelId="{10FDEC91-996D-43E4-88E6-29C86D35F9B8}" type="parTrans" cxnId="{423C5228-1596-48AF-9AD6-7BD13DDD1E4C}">
      <dgm:prSet/>
      <dgm:spPr/>
      <dgm:t>
        <a:bodyPr/>
        <a:lstStyle/>
        <a:p>
          <a:endParaRPr lang="fr-CH"/>
        </a:p>
      </dgm:t>
    </dgm:pt>
    <dgm:pt modelId="{28C92781-EFAF-4D13-BF2E-1ABD1ADB1C66}" type="sibTrans" cxnId="{423C5228-1596-48AF-9AD6-7BD13DDD1E4C}">
      <dgm:prSet/>
      <dgm:spPr/>
      <dgm:t>
        <a:bodyPr/>
        <a:lstStyle/>
        <a:p>
          <a:endParaRPr lang="fr-CH"/>
        </a:p>
      </dgm:t>
    </dgm:pt>
    <dgm:pt modelId="{4D849390-289A-400A-80D5-AD575877824F}" type="pres">
      <dgm:prSet presAssocID="{5C976B31-A59B-42A6-99B4-039A4CD812E7}" presName="Name0" presStyleCnt="0">
        <dgm:presLayoutVars>
          <dgm:chMax val="2"/>
          <dgm:chPref val="2"/>
          <dgm:dir/>
          <dgm:animOne/>
          <dgm:resizeHandles val="exact"/>
        </dgm:presLayoutVars>
      </dgm:prSet>
      <dgm:spPr/>
    </dgm:pt>
    <dgm:pt modelId="{5BC41E24-596D-4921-83B9-11A9AA9977C1}" type="pres">
      <dgm:prSet presAssocID="{5C976B31-A59B-42A6-99B4-039A4CD812E7}" presName="Background" presStyleLbl="bgImgPlace1" presStyleIdx="0" presStyleCnt="1"/>
      <dgm:spPr/>
    </dgm:pt>
    <dgm:pt modelId="{E91BD863-09D4-4B3D-9A43-3182DCD50E38}" type="pres">
      <dgm:prSet presAssocID="{5C976B31-A59B-42A6-99B4-039A4CD812E7}" presName="ParentText1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68CDABEB-F956-470D-950E-061C40EB6853}" type="pres">
      <dgm:prSet presAssocID="{5C976B31-A59B-42A6-99B4-039A4CD812E7}" presName="ParentText2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A6156352-3E32-441C-9D88-7F9DE44C65DA}" type="pres">
      <dgm:prSet presAssocID="{5C976B31-A59B-42A6-99B4-039A4CD812E7}" presName="Plus" presStyleLbl="alignNode1" presStyleIdx="0" presStyleCnt="2" custScaleX="69824" custScaleY="72875"/>
      <dgm:spPr/>
    </dgm:pt>
    <dgm:pt modelId="{3A2C363A-B544-493E-9994-24847BBB5601}" type="pres">
      <dgm:prSet presAssocID="{5C976B31-A59B-42A6-99B4-039A4CD812E7}" presName="Minus" presStyleLbl="alignNode1" presStyleIdx="1" presStyleCnt="2" custScaleX="85732" custScaleY="86114"/>
      <dgm:spPr/>
    </dgm:pt>
    <dgm:pt modelId="{32D09EEE-AB18-491D-A6C4-98E2BE014FEA}" type="pres">
      <dgm:prSet presAssocID="{5C976B31-A59B-42A6-99B4-039A4CD812E7}" presName="Divider" presStyleLbl="parChTrans1D1" presStyleIdx="0" presStyleCnt="1"/>
      <dgm:spPr/>
    </dgm:pt>
  </dgm:ptLst>
  <dgm:cxnLst>
    <dgm:cxn modelId="{90829501-CC88-400D-B19D-6574FFABB98B}" type="presOf" srcId="{9C8FD4C2-4AFA-4101-B9C1-CCAE91DCCE9D}" destId="{E91BD863-09D4-4B3D-9A43-3182DCD50E38}" srcOrd="0" destOrd="0" presId="urn:microsoft.com/office/officeart/2009/3/layout/PlusandMinus"/>
    <dgm:cxn modelId="{423C5228-1596-48AF-9AD6-7BD13DDD1E4C}" srcId="{5C976B31-A59B-42A6-99B4-039A4CD812E7}" destId="{604AFE37-DB42-4954-93F8-8CECBE27FD5F}" srcOrd="1" destOrd="0" parTransId="{10FDEC91-996D-43E4-88E6-29C86D35F9B8}" sibTransId="{28C92781-EFAF-4D13-BF2E-1ABD1ADB1C66}"/>
    <dgm:cxn modelId="{D1AA662B-BF0A-47BB-BC00-2902D09CFE51}" type="presOf" srcId="{5C976B31-A59B-42A6-99B4-039A4CD812E7}" destId="{4D849390-289A-400A-80D5-AD575877824F}" srcOrd="0" destOrd="0" presId="urn:microsoft.com/office/officeart/2009/3/layout/PlusandMinus"/>
    <dgm:cxn modelId="{AB9B695A-C6F2-43A6-854C-3FCBC0D25EE0}" type="presOf" srcId="{604AFE37-DB42-4954-93F8-8CECBE27FD5F}" destId="{68CDABEB-F956-470D-950E-061C40EB6853}" srcOrd="0" destOrd="0" presId="urn:microsoft.com/office/officeart/2009/3/layout/PlusandMinus"/>
    <dgm:cxn modelId="{925C31F9-9457-42D7-8FAF-5A5BE9D5B4DF}" srcId="{5C976B31-A59B-42A6-99B4-039A4CD812E7}" destId="{9C8FD4C2-4AFA-4101-B9C1-CCAE91DCCE9D}" srcOrd="0" destOrd="0" parTransId="{87FCFC58-264D-4AA4-BF2A-3BFD949DFA3F}" sibTransId="{1BEC6DA7-EA8C-459D-AD78-FFD39FEC3D6E}"/>
    <dgm:cxn modelId="{F2E427DD-179B-4F3B-9D8B-BA05E785F3F5}" type="presParOf" srcId="{4D849390-289A-400A-80D5-AD575877824F}" destId="{5BC41E24-596D-4921-83B9-11A9AA9977C1}" srcOrd="0" destOrd="0" presId="urn:microsoft.com/office/officeart/2009/3/layout/PlusandMinus"/>
    <dgm:cxn modelId="{34BE3D84-674A-4899-A047-DFE50952C307}" type="presParOf" srcId="{4D849390-289A-400A-80D5-AD575877824F}" destId="{E91BD863-09D4-4B3D-9A43-3182DCD50E38}" srcOrd="1" destOrd="0" presId="urn:microsoft.com/office/officeart/2009/3/layout/PlusandMinus"/>
    <dgm:cxn modelId="{3B82354E-B00E-4A17-8C67-5AC3084926E8}" type="presParOf" srcId="{4D849390-289A-400A-80D5-AD575877824F}" destId="{68CDABEB-F956-470D-950E-061C40EB6853}" srcOrd="2" destOrd="0" presId="urn:microsoft.com/office/officeart/2009/3/layout/PlusandMinus"/>
    <dgm:cxn modelId="{54119BF2-D5D2-41F6-8956-AC7DB69A359E}" type="presParOf" srcId="{4D849390-289A-400A-80D5-AD575877824F}" destId="{A6156352-3E32-441C-9D88-7F9DE44C65DA}" srcOrd="3" destOrd="0" presId="urn:microsoft.com/office/officeart/2009/3/layout/PlusandMinus"/>
    <dgm:cxn modelId="{603A21BB-E50F-4B92-98A7-860BD293E1E9}" type="presParOf" srcId="{4D849390-289A-400A-80D5-AD575877824F}" destId="{3A2C363A-B544-493E-9994-24847BBB5601}" srcOrd="4" destOrd="0" presId="urn:microsoft.com/office/officeart/2009/3/layout/PlusandMinus"/>
    <dgm:cxn modelId="{F94118A7-9534-4B4E-A3EF-A333D1D0B334}" type="presParOf" srcId="{4D849390-289A-400A-80D5-AD575877824F}" destId="{32D09EEE-AB18-491D-A6C4-98E2BE014FEA}" srcOrd="5" destOrd="0" presId="urn:microsoft.com/office/officeart/2009/3/layout/PlusandMinu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7DCC64-F194-47B3-832D-5BEA1903071F}" type="doc">
      <dgm:prSet loTypeId="urn:microsoft.com/office/officeart/2008/layout/SquareAccentList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fr-CH"/>
        </a:p>
      </dgm:t>
    </dgm:pt>
    <dgm:pt modelId="{7E3B8D61-EB26-4C7F-A924-0D086638C2E4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dirty="0"/>
            <a:t>Expected drivers</a:t>
          </a:r>
          <a:endParaRPr lang="fr-CH" sz="2800" dirty="0"/>
        </a:p>
      </dgm:t>
    </dgm:pt>
    <dgm:pt modelId="{AA6E97D3-B05D-409B-B6FB-D7B64E70E661}" type="parTrans" cxnId="{4874B183-175B-465E-A90A-2F06137FB895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318E70C1-69C7-4CAF-ACBC-A9DB08A93B81}" type="sibTrans" cxnId="{4874B183-175B-465E-A90A-2F06137FB895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AABED04-E51E-4BA5-A46E-AFF0B3F22B2D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Building on existing EPI programs.</a:t>
          </a:r>
          <a:endParaRPr lang="fr-CH" sz="1800" dirty="0"/>
        </a:p>
      </dgm:t>
    </dgm:pt>
    <dgm:pt modelId="{3ACBDB69-3591-4A47-9658-9EAF6B2078A5}" type="parTrans" cxnId="{50DEA405-4151-4C83-B55E-5B47B6772702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9719C99B-6866-424F-9D2C-B6372FF021C2}" type="sibTrans" cxnId="{50DEA405-4151-4C83-B55E-5B47B6772702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DE319436-5BD8-46AD-8180-74B8152151E8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Introduction in districts not eligible to SMC.</a:t>
          </a:r>
          <a:endParaRPr lang="fr-CH" sz="1800" dirty="0"/>
        </a:p>
      </dgm:t>
    </dgm:pt>
    <dgm:pt modelId="{54C4E46C-5C37-4C75-946E-BCD21F5B990A}" type="parTrans" cxnId="{D6C2E8FD-2118-4003-AFE5-A97D92912DD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3D40D949-BB4C-4596-AFAE-577D1E0990C1}" type="sibTrans" cxnId="{D6C2E8FD-2118-4003-AFE5-A97D92912DD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4D8B9187-540A-4490-820C-E7EB5EA6CE43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dirty="0"/>
            <a:t>Expected barriers</a:t>
          </a:r>
          <a:endParaRPr lang="fr-CH" sz="2800" dirty="0"/>
        </a:p>
      </dgm:t>
    </dgm:pt>
    <dgm:pt modelId="{A9B82817-B1C5-43D5-821F-580C6B76F562}" type="parTrans" cxnId="{52AC0FD3-CF0A-45C9-9ABE-47605FD14EB3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A1699FF-BAA4-447B-94CD-94A932BC1643}" type="sibTrans" cxnId="{52AC0FD3-CF0A-45C9-9ABE-47605FD14EB3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A4D56F3-5DF3-4C6A-9C18-86CCF2DCB549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Insufficient evidence, especially safety of SP in infants, and concerns about emergence of resistance.</a:t>
          </a:r>
          <a:endParaRPr lang="fr-CH" sz="1800" dirty="0"/>
        </a:p>
      </dgm:t>
    </dgm:pt>
    <dgm:pt modelId="{CBCE45F6-339A-40FD-A7D1-A3B866D286D7}" type="parTrans" cxnId="{EF6CE556-34AB-440A-A1B0-BE0FE7752C48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E5E6CAA5-4E8A-4277-AD04-924FFDBE926A}" type="sibTrans" cxnId="{EF6CE556-34AB-440A-A1B0-BE0FE7752C48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D7A37DEB-6EEF-49AF-9935-BA78D419DABE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Lack of involvement of key stakeholders, and delays in inclusion in guidelines</a:t>
          </a:r>
          <a:endParaRPr lang="fr-CH" sz="1800" dirty="0"/>
        </a:p>
      </dgm:t>
    </dgm:pt>
    <dgm:pt modelId="{8DC58633-5716-4E86-BBCF-9306FD81C152}" type="parTrans" cxnId="{CEDA5E8E-E70E-4671-86FE-FEC9DEAA801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F0103FF8-866E-460F-8CCA-494EBCFBE6D6}" type="sibTrans" cxnId="{CEDA5E8E-E70E-4671-86FE-FEC9DEAA801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D68CFE9-403D-4744-BAC8-A7ED46A4002E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Competing issues such as Covid 19 diverting resources</a:t>
          </a:r>
        </a:p>
      </dgm:t>
    </dgm:pt>
    <dgm:pt modelId="{B9AAED97-8BB5-4303-9732-10D996CD735F}" type="parTrans" cxnId="{3FB7F4CC-CCFE-460C-808F-B982660362F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D2FD7E1-A2CF-4674-AEE8-A4D324F8BB06}" type="sibTrans" cxnId="{3FB7F4CC-CCFE-460C-808F-B982660362F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052FD37D-47CA-4CAB-A16C-ED6DF2159A73}" type="pres">
      <dgm:prSet presAssocID="{187DCC64-F194-47B3-832D-5BEA1903071F}" presName="layout" presStyleCnt="0">
        <dgm:presLayoutVars>
          <dgm:chMax/>
          <dgm:chPref/>
          <dgm:dir/>
          <dgm:resizeHandles/>
        </dgm:presLayoutVars>
      </dgm:prSet>
      <dgm:spPr/>
    </dgm:pt>
    <dgm:pt modelId="{8CA40385-A49B-4CBB-9573-0AFE31188F79}" type="pres">
      <dgm:prSet presAssocID="{7E3B8D61-EB26-4C7F-A924-0D086638C2E4}" presName="root" presStyleCnt="0">
        <dgm:presLayoutVars>
          <dgm:chMax/>
          <dgm:chPref/>
        </dgm:presLayoutVars>
      </dgm:prSet>
      <dgm:spPr/>
    </dgm:pt>
    <dgm:pt modelId="{4F3F0204-EF6D-4406-9CDC-1B7F56A3B9C3}" type="pres">
      <dgm:prSet presAssocID="{7E3B8D61-EB26-4C7F-A924-0D086638C2E4}" presName="rootComposite" presStyleCnt="0">
        <dgm:presLayoutVars/>
      </dgm:prSet>
      <dgm:spPr/>
    </dgm:pt>
    <dgm:pt modelId="{AD14A85F-791E-4A3D-9CC3-902F8E0E2737}" type="pres">
      <dgm:prSet presAssocID="{7E3B8D61-EB26-4C7F-A924-0D086638C2E4}" presName="ParentAccent" presStyleLbl="alignNode1" presStyleIdx="0" presStyleCnt="2"/>
      <dgm:spPr/>
    </dgm:pt>
    <dgm:pt modelId="{C2942E77-5925-449A-B1BD-5BE0355FD352}" type="pres">
      <dgm:prSet presAssocID="{7E3B8D61-EB26-4C7F-A924-0D086638C2E4}" presName="ParentSmallAccent" presStyleLbl="fgAcc1" presStyleIdx="0" presStyleCnt="2"/>
      <dgm:spPr/>
    </dgm:pt>
    <dgm:pt modelId="{F2E95340-5B83-4886-80B1-A8F66C8FEBAB}" type="pres">
      <dgm:prSet presAssocID="{7E3B8D61-EB26-4C7F-A924-0D086638C2E4}" presName="Parent" presStyleLbl="revTx" presStyleIdx="0" presStyleCnt="7" custLinFactNeighborX="-236">
        <dgm:presLayoutVars>
          <dgm:chMax/>
          <dgm:chPref val="4"/>
          <dgm:bulletEnabled val="1"/>
        </dgm:presLayoutVars>
      </dgm:prSet>
      <dgm:spPr/>
    </dgm:pt>
    <dgm:pt modelId="{AF05DC45-2D78-4B05-9E62-F1BA91CEC682}" type="pres">
      <dgm:prSet presAssocID="{7E3B8D61-EB26-4C7F-A924-0D086638C2E4}" presName="childShape" presStyleCnt="0">
        <dgm:presLayoutVars>
          <dgm:chMax val="0"/>
          <dgm:chPref val="0"/>
        </dgm:presLayoutVars>
      </dgm:prSet>
      <dgm:spPr/>
    </dgm:pt>
    <dgm:pt modelId="{209341EB-9F86-4EA0-950A-361AA9B7A79D}" type="pres">
      <dgm:prSet presAssocID="{5AABED04-E51E-4BA5-A46E-AFF0B3F22B2D}" presName="childComposite" presStyleCnt="0">
        <dgm:presLayoutVars>
          <dgm:chMax val="0"/>
          <dgm:chPref val="0"/>
        </dgm:presLayoutVars>
      </dgm:prSet>
      <dgm:spPr/>
    </dgm:pt>
    <dgm:pt modelId="{4FC1BECF-D772-44C0-A5CC-080569E46FC8}" type="pres">
      <dgm:prSet presAssocID="{5AABED04-E51E-4BA5-A46E-AFF0B3F22B2D}" presName="ChildAccent" presStyleLbl="solidFgAcc1" presStyleIdx="0" presStyleCnt="5"/>
      <dgm:spPr/>
    </dgm:pt>
    <dgm:pt modelId="{0D2F0B97-468F-4487-B1C3-D1FDC3F17C74}" type="pres">
      <dgm:prSet presAssocID="{5AABED04-E51E-4BA5-A46E-AFF0B3F22B2D}" presName="Child" presStyleLbl="revTx" presStyleIdx="1" presStyleCnt="7">
        <dgm:presLayoutVars>
          <dgm:chMax val="0"/>
          <dgm:chPref val="0"/>
          <dgm:bulletEnabled val="1"/>
        </dgm:presLayoutVars>
      </dgm:prSet>
      <dgm:spPr/>
    </dgm:pt>
    <dgm:pt modelId="{5300F34A-0A8B-4176-BCB2-1255BCB72735}" type="pres">
      <dgm:prSet presAssocID="{DE319436-5BD8-46AD-8180-74B8152151E8}" presName="childComposite" presStyleCnt="0">
        <dgm:presLayoutVars>
          <dgm:chMax val="0"/>
          <dgm:chPref val="0"/>
        </dgm:presLayoutVars>
      </dgm:prSet>
      <dgm:spPr/>
    </dgm:pt>
    <dgm:pt modelId="{AFBCB24F-B421-440B-AC91-D955020B40DB}" type="pres">
      <dgm:prSet presAssocID="{DE319436-5BD8-46AD-8180-74B8152151E8}" presName="ChildAccent" presStyleLbl="solidFgAcc1" presStyleIdx="1" presStyleCnt="5"/>
      <dgm:spPr/>
    </dgm:pt>
    <dgm:pt modelId="{25406BD3-B702-4512-8871-310A3B4081EF}" type="pres">
      <dgm:prSet presAssocID="{DE319436-5BD8-46AD-8180-74B8152151E8}" presName="Child" presStyleLbl="revTx" presStyleIdx="2" presStyleCnt="7">
        <dgm:presLayoutVars>
          <dgm:chMax val="0"/>
          <dgm:chPref val="0"/>
          <dgm:bulletEnabled val="1"/>
        </dgm:presLayoutVars>
      </dgm:prSet>
      <dgm:spPr/>
    </dgm:pt>
    <dgm:pt modelId="{AE14892C-D8B2-4925-8081-409B3C414F59}" type="pres">
      <dgm:prSet presAssocID="{4D8B9187-540A-4490-820C-E7EB5EA6CE43}" presName="root" presStyleCnt="0">
        <dgm:presLayoutVars>
          <dgm:chMax/>
          <dgm:chPref/>
        </dgm:presLayoutVars>
      </dgm:prSet>
      <dgm:spPr/>
    </dgm:pt>
    <dgm:pt modelId="{FA8292FE-ED6C-4D11-8CF1-B4389A35D963}" type="pres">
      <dgm:prSet presAssocID="{4D8B9187-540A-4490-820C-E7EB5EA6CE43}" presName="rootComposite" presStyleCnt="0">
        <dgm:presLayoutVars/>
      </dgm:prSet>
      <dgm:spPr/>
    </dgm:pt>
    <dgm:pt modelId="{F1AFEEEF-BC0C-4174-A1D1-CBC877399387}" type="pres">
      <dgm:prSet presAssocID="{4D8B9187-540A-4490-820C-E7EB5EA6CE43}" presName="ParentAccent" presStyleLbl="alignNode1" presStyleIdx="1" presStyleCnt="2"/>
      <dgm:spPr/>
    </dgm:pt>
    <dgm:pt modelId="{9F9F6D26-12D3-435B-B987-C85A65EDDAE7}" type="pres">
      <dgm:prSet presAssocID="{4D8B9187-540A-4490-820C-E7EB5EA6CE43}" presName="ParentSmallAccent" presStyleLbl="fgAcc1" presStyleIdx="1" presStyleCnt="2"/>
      <dgm:spPr/>
    </dgm:pt>
    <dgm:pt modelId="{35D18728-AF72-4DE6-BAF9-990F0E9F15BD}" type="pres">
      <dgm:prSet presAssocID="{4D8B9187-540A-4490-820C-E7EB5EA6CE43}" presName="Parent" presStyleLbl="revTx" presStyleIdx="3" presStyleCnt="7">
        <dgm:presLayoutVars>
          <dgm:chMax/>
          <dgm:chPref val="4"/>
          <dgm:bulletEnabled val="1"/>
        </dgm:presLayoutVars>
      </dgm:prSet>
      <dgm:spPr/>
    </dgm:pt>
    <dgm:pt modelId="{800431BC-227C-456C-9D97-64258D3519DB}" type="pres">
      <dgm:prSet presAssocID="{4D8B9187-540A-4490-820C-E7EB5EA6CE43}" presName="childShape" presStyleCnt="0">
        <dgm:presLayoutVars>
          <dgm:chMax val="0"/>
          <dgm:chPref val="0"/>
        </dgm:presLayoutVars>
      </dgm:prSet>
      <dgm:spPr/>
    </dgm:pt>
    <dgm:pt modelId="{CEBC1AC1-B8AE-4745-8245-06D92471B0B5}" type="pres">
      <dgm:prSet presAssocID="{5A4D56F3-5DF3-4C6A-9C18-86CCF2DCB549}" presName="childComposite" presStyleCnt="0">
        <dgm:presLayoutVars>
          <dgm:chMax val="0"/>
          <dgm:chPref val="0"/>
        </dgm:presLayoutVars>
      </dgm:prSet>
      <dgm:spPr/>
    </dgm:pt>
    <dgm:pt modelId="{09925E73-83A1-4804-8BC5-865B1A2F0941}" type="pres">
      <dgm:prSet presAssocID="{5A4D56F3-5DF3-4C6A-9C18-86CCF2DCB549}" presName="ChildAccent" presStyleLbl="solidFgAcc1" presStyleIdx="2" presStyleCnt="5"/>
      <dgm:spPr/>
    </dgm:pt>
    <dgm:pt modelId="{5D6A702B-346E-4F78-B7CB-CD4C96889F6B}" type="pres">
      <dgm:prSet presAssocID="{5A4D56F3-5DF3-4C6A-9C18-86CCF2DCB549}" presName="Child" presStyleLbl="revTx" presStyleIdx="4" presStyleCnt="7">
        <dgm:presLayoutVars>
          <dgm:chMax val="0"/>
          <dgm:chPref val="0"/>
          <dgm:bulletEnabled val="1"/>
        </dgm:presLayoutVars>
      </dgm:prSet>
      <dgm:spPr/>
    </dgm:pt>
    <dgm:pt modelId="{6BA585F6-368B-41DF-9684-40D5F79BAA75}" type="pres">
      <dgm:prSet presAssocID="{D7A37DEB-6EEF-49AF-9935-BA78D419DABE}" presName="childComposite" presStyleCnt="0">
        <dgm:presLayoutVars>
          <dgm:chMax val="0"/>
          <dgm:chPref val="0"/>
        </dgm:presLayoutVars>
      </dgm:prSet>
      <dgm:spPr/>
    </dgm:pt>
    <dgm:pt modelId="{5FCD4303-ADDB-49E3-8A0A-A7F582EA1DD5}" type="pres">
      <dgm:prSet presAssocID="{D7A37DEB-6EEF-49AF-9935-BA78D419DABE}" presName="ChildAccent" presStyleLbl="solidFgAcc1" presStyleIdx="3" presStyleCnt="5"/>
      <dgm:spPr/>
    </dgm:pt>
    <dgm:pt modelId="{FA752A9C-305B-4784-958D-E748E67301E2}" type="pres">
      <dgm:prSet presAssocID="{D7A37DEB-6EEF-49AF-9935-BA78D419DABE}" presName="Child" presStyleLbl="revTx" presStyleIdx="5" presStyleCnt="7">
        <dgm:presLayoutVars>
          <dgm:chMax val="0"/>
          <dgm:chPref val="0"/>
          <dgm:bulletEnabled val="1"/>
        </dgm:presLayoutVars>
      </dgm:prSet>
      <dgm:spPr/>
    </dgm:pt>
    <dgm:pt modelId="{A3D92EC7-E508-405B-8BFB-708258D630DF}" type="pres">
      <dgm:prSet presAssocID="{AD68CFE9-403D-4744-BAC8-A7ED46A4002E}" presName="childComposite" presStyleCnt="0">
        <dgm:presLayoutVars>
          <dgm:chMax val="0"/>
          <dgm:chPref val="0"/>
        </dgm:presLayoutVars>
      </dgm:prSet>
      <dgm:spPr/>
    </dgm:pt>
    <dgm:pt modelId="{9A850FCB-1578-48FB-8C42-39C55D2500DD}" type="pres">
      <dgm:prSet presAssocID="{AD68CFE9-403D-4744-BAC8-A7ED46A4002E}" presName="ChildAccent" presStyleLbl="solidFgAcc1" presStyleIdx="4" presStyleCnt="5"/>
      <dgm:spPr/>
    </dgm:pt>
    <dgm:pt modelId="{DE7782AE-CFC4-4DA5-862D-CC46E2BA0D19}" type="pres">
      <dgm:prSet presAssocID="{AD68CFE9-403D-4744-BAC8-A7ED46A4002E}" presName="Child" presStyleLbl="revTx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50DEA405-4151-4C83-B55E-5B47B6772702}" srcId="{7E3B8D61-EB26-4C7F-A924-0D086638C2E4}" destId="{5AABED04-E51E-4BA5-A46E-AFF0B3F22B2D}" srcOrd="0" destOrd="0" parTransId="{3ACBDB69-3591-4A47-9658-9EAF6B2078A5}" sibTransId="{9719C99B-6866-424F-9D2C-B6372FF021C2}"/>
    <dgm:cxn modelId="{2F310E25-2B11-4513-89C1-5534708D6FE5}" type="presOf" srcId="{D7A37DEB-6EEF-49AF-9935-BA78D419DABE}" destId="{FA752A9C-305B-4784-958D-E748E67301E2}" srcOrd="0" destOrd="0" presId="urn:microsoft.com/office/officeart/2008/layout/SquareAccentList"/>
    <dgm:cxn modelId="{39068227-D90A-4AE9-9556-1FF7FAADE70D}" type="presOf" srcId="{5A4D56F3-5DF3-4C6A-9C18-86CCF2DCB549}" destId="{5D6A702B-346E-4F78-B7CB-CD4C96889F6B}" srcOrd="0" destOrd="0" presId="urn:microsoft.com/office/officeart/2008/layout/SquareAccentList"/>
    <dgm:cxn modelId="{1824495E-F90B-4652-B2F0-3D56F0EEF71E}" type="presOf" srcId="{DE319436-5BD8-46AD-8180-74B8152151E8}" destId="{25406BD3-B702-4512-8871-310A3B4081EF}" srcOrd="0" destOrd="0" presId="urn:microsoft.com/office/officeart/2008/layout/SquareAccentList"/>
    <dgm:cxn modelId="{13D57567-9E91-4370-B425-6FDC967A1957}" type="presOf" srcId="{5AABED04-E51E-4BA5-A46E-AFF0B3F22B2D}" destId="{0D2F0B97-468F-4487-B1C3-D1FDC3F17C74}" srcOrd="0" destOrd="0" presId="urn:microsoft.com/office/officeart/2008/layout/SquareAccentList"/>
    <dgm:cxn modelId="{B98D0B6F-DAF2-4B14-A5B8-8B628A69F937}" type="presOf" srcId="{7E3B8D61-EB26-4C7F-A924-0D086638C2E4}" destId="{F2E95340-5B83-4886-80B1-A8F66C8FEBAB}" srcOrd="0" destOrd="0" presId="urn:microsoft.com/office/officeart/2008/layout/SquareAccentList"/>
    <dgm:cxn modelId="{EF6CE556-34AB-440A-A1B0-BE0FE7752C48}" srcId="{4D8B9187-540A-4490-820C-E7EB5EA6CE43}" destId="{5A4D56F3-5DF3-4C6A-9C18-86CCF2DCB549}" srcOrd="0" destOrd="0" parTransId="{CBCE45F6-339A-40FD-A7D1-A3B866D286D7}" sibTransId="{E5E6CAA5-4E8A-4277-AD04-924FFDBE926A}"/>
    <dgm:cxn modelId="{4874B183-175B-465E-A90A-2F06137FB895}" srcId="{187DCC64-F194-47B3-832D-5BEA1903071F}" destId="{7E3B8D61-EB26-4C7F-A924-0D086638C2E4}" srcOrd="0" destOrd="0" parTransId="{AA6E97D3-B05D-409B-B6FB-D7B64E70E661}" sibTransId="{318E70C1-69C7-4CAF-ACBC-A9DB08A93B81}"/>
    <dgm:cxn modelId="{CEDA5E8E-E70E-4671-86FE-FEC9DEAA8014}" srcId="{4D8B9187-540A-4490-820C-E7EB5EA6CE43}" destId="{D7A37DEB-6EEF-49AF-9935-BA78D419DABE}" srcOrd="1" destOrd="0" parTransId="{8DC58633-5716-4E86-BBCF-9306FD81C152}" sibTransId="{F0103FF8-866E-460F-8CCA-494EBCFBE6D6}"/>
    <dgm:cxn modelId="{3FB7F4CC-CCFE-460C-808F-B982660362FB}" srcId="{4D8B9187-540A-4490-820C-E7EB5EA6CE43}" destId="{AD68CFE9-403D-4744-BAC8-A7ED46A4002E}" srcOrd="2" destOrd="0" parTransId="{B9AAED97-8BB5-4303-9732-10D996CD735F}" sibTransId="{AD2FD7E1-A2CF-4674-AEE8-A4D324F8BB06}"/>
    <dgm:cxn modelId="{CB2819CF-BD1D-4E0F-B205-6D3065E1729D}" type="presOf" srcId="{4D8B9187-540A-4490-820C-E7EB5EA6CE43}" destId="{35D18728-AF72-4DE6-BAF9-990F0E9F15BD}" srcOrd="0" destOrd="0" presId="urn:microsoft.com/office/officeart/2008/layout/SquareAccentList"/>
    <dgm:cxn modelId="{52AC0FD3-CF0A-45C9-9ABE-47605FD14EB3}" srcId="{187DCC64-F194-47B3-832D-5BEA1903071F}" destId="{4D8B9187-540A-4490-820C-E7EB5EA6CE43}" srcOrd="1" destOrd="0" parTransId="{A9B82817-B1C5-43D5-821F-580C6B76F562}" sibTransId="{AA1699FF-BAA4-447B-94CD-94A932BC1643}"/>
    <dgm:cxn modelId="{B8B58FD9-4F66-4EA5-A72D-C50F6CDEBD41}" type="presOf" srcId="{AD68CFE9-403D-4744-BAC8-A7ED46A4002E}" destId="{DE7782AE-CFC4-4DA5-862D-CC46E2BA0D19}" srcOrd="0" destOrd="0" presId="urn:microsoft.com/office/officeart/2008/layout/SquareAccentList"/>
    <dgm:cxn modelId="{4DD46DE8-E152-4DC8-B508-0106A2691341}" type="presOf" srcId="{187DCC64-F194-47B3-832D-5BEA1903071F}" destId="{052FD37D-47CA-4CAB-A16C-ED6DF2159A73}" srcOrd="0" destOrd="0" presId="urn:microsoft.com/office/officeart/2008/layout/SquareAccentList"/>
    <dgm:cxn modelId="{D6C2E8FD-2118-4003-AFE5-A97D92912DDB}" srcId="{7E3B8D61-EB26-4C7F-A924-0D086638C2E4}" destId="{DE319436-5BD8-46AD-8180-74B8152151E8}" srcOrd="1" destOrd="0" parTransId="{54C4E46C-5C37-4C75-946E-BCD21F5B990A}" sibTransId="{3D40D949-BB4C-4596-AFAE-577D1E0990C1}"/>
    <dgm:cxn modelId="{C7B39B3F-0061-4F0D-9333-26348B188CB2}" type="presParOf" srcId="{052FD37D-47CA-4CAB-A16C-ED6DF2159A73}" destId="{8CA40385-A49B-4CBB-9573-0AFE31188F79}" srcOrd="0" destOrd="0" presId="urn:microsoft.com/office/officeart/2008/layout/SquareAccentList"/>
    <dgm:cxn modelId="{ACBAB7B0-958D-403C-A3B9-9665AFFE0AD1}" type="presParOf" srcId="{8CA40385-A49B-4CBB-9573-0AFE31188F79}" destId="{4F3F0204-EF6D-4406-9CDC-1B7F56A3B9C3}" srcOrd="0" destOrd="0" presId="urn:microsoft.com/office/officeart/2008/layout/SquareAccentList"/>
    <dgm:cxn modelId="{D9404A42-1C57-44BE-B632-D0361AAF769F}" type="presParOf" srcId="{4F3F0204-EF6D-4406-9CDC-1B7F56A3B9C3}" destId="{AD14A85F-791E-4A3D-9CC3-902F8E0E2737}" srcOrd="0" destOrd="0" presId="urn:microsoft.com/office/officeart/2008/layout/SquareAccentList"/>
    <dgm:cxn modelId="{A6C00686-EC97-497A-9757-370CE7AB8324}" type="presParOf" srcId="{4F3F0204-EF6D-4406-9CDC-1B7F56A3B9C3}" destId="{C2942E77-5925-449A-B1BD-5BE0355FD352}" srcOrd="1" destOrd="0" presId="urn:microsoft.com/office/officeart/2008/layout/SquareAccentList"/>
    <dgm:cxn modelId="{CF695D52-CE2A-491A-8188-8BD45C7FDC61}" type="presParOf" srcId="{4F3F0204-EF6D-4406-9CDC-1B7F56A3B9C3}" destId="{F2E95340-5B83-4886-80B1-A8F66C8FEBAB}" srcOrd="2" destOrd="0" presId="urn:microsoft.com/office/officeart/2008/layout/SquareAccentList"/>
    <dgm:cxn modelId="{23A25003-D85C-4546-B6E4-B04CA75C6807}" type="presParOf" srcId="{8CA40385-A49B-4CBB-9573-0AFE31188F79}" destId="{AF05DC45-2D78-4B05-9E62-F1BA91CEC682}" srcOrd="1" destOrd="0" presId="urn:microsoft.com/office/officeart/2008/layout/SquareAccentList"/>
    <dgm:cxn modelId="{CA338A9E-24BB-4BCA-8924-C6F7F3AEDE10}" type="presParOf" srcId="{AF05DC45-2D78-4B05-9E62-F1BA91CEC682}" destId="{209341EB-9F86-4EA0-950A-361AA9B7A79D}" srcOrd="0" destOrd="0" presId="urn:microsoft.com/office/officeart/2008/layout/SquareAccentList"/>
    <dgm:cxn modelId="{F6C0C219-2040-41F4-9B56-B37299451A14}" type="presParOf" srcId="{209341EB-9F86-4EA0-950A-361AA9B7A79D}" destId="{4FC1BECF-D772-44C0-A5CC-080569E46FC8}" srcOrd="0" destOrd="0" presId="urn:microsoft.com/office/officeart/2008/layout/SquareAccentList"/>
    <dgm:cxn modelId="{6DD89B99-8AB3-4A95-B0FF-D978F4FD9857}" type="presParOf" srcId="{209341EB-9F86-4EA0-950A-361AA9B7A79D}" destId="{0D2F0B97-468F-4487-B1C3-D1FDC3F17C74}" srcOrd="1" destOrd="0" presId="urn:microsoft.com/office/officeart/2008/layout/SquareAccentList"/>
    <dgm:cxn modelId="{CA9E73F8-F7CF-48FC-90E6-5DE14B82E6B7}" type="presParOf" srcId="{AF05DC45-2D78-4B05-9E62-F1BA91CEC682}" destId="{5300F34A-0A8B-4176-BCB2-1255BCB72735}" srcOrd="1" destOrd="0" presId="urn:microsoft.com/office/officeart/2008/layout/SquareAccentList"/>
    <dgm:cxn modelId="{9A4FB582-0E3B-4962-AE94-387D957097F4}" type="presParOf" srcId="{5300F34A-0A8B-4176-BCB2-1255BCB72735}" destId="{AFBCB24F-B421-440B-AC91-D955020B40DB}" srcOrd="0" destOrd="0" presId="urn:microsoft.com/office/officeart/2008/layout/SquareAccentList"/>
    <dgm:cxn modelId="{5187A10C-78BC-43EA-845A-97000D0B8ECF}" type="presParOf" srcId="{5300F34A-0A8B-4176-BCB2-1255BCB72735}" destId="{25406BD3-B702-4512-8871-310A3B4081EF}" srcOrd="1" destOrd="0" presId="urn:microsoft.com/office/officeart/2008/layout/SquareAccentList"/>
    <dgm:cxn modelId="{22099193-A84E-4975-ABA2-00D1C7B7054C}" type="presParOf" srcId="{052FD37D-47CA-4CAB-A16C-ED6DF2159A73}" destId="{AE14892C-D8B2-4925-8081-409B3C414F59}" srcOrd="1" destOrd="0" presId="urn:microsoft.com/office/officeart/2008/layout/SquareAccentList"/>
    <dgm:cxn modelId="{390D349D-220D-44F5-BF40-EDFB0610E075}" type="presParOf" srcId="{AE14892C-D8B2-4925-8081-409B3C414F59}" destId="{FA8292FE-ED6C-4D11-8CF1-B4389A35D963}" srcOrd="0" destOrd="0" presId="urn:microsoft.com/office/officeart/2008/layout/SquareAccentList"/>
    <dgm:cxn modelId="{1842DE33-84ED-4297-8603-2A0E600DF971}" type="presParOf" srcId="{FA8292FE-ED6C-4D11-8CF1-B4389A35D963}" destId="{F1AFEEEF-BC0C-4174-A1D1-CBC877399387}" srcOrd="0" destOrd="0" presId="urn:microsoft.com/office/officeart/2008/layout/SquareAccentList"/>
    <dgm:cxn modelId="{F412CF40-0CE8-4A4A-89F3-3EE249E2FA86}" type="presParOf" srcId="{FA8292FE-ED6C-4D11-8CF1-B4389A35D963}" destId="{9F9F6D26-12D3-435B-B987-C85A65EDDAE7}" srcOrd="1" destOrd="0" presId="urn:microsoft.com/office/officeart/2008/layout/SquareAccentList"/>
    <dgm:cxn modelId="{3199C7F7-B5BD-4E2F-BDF5-F6E82ACF44C6}" type="presParOf" srcId="{FA8292FE-ED6C-4D11-8CF1-B4389A35D963}" destId="{35D18728-AF72-4DE6-BAF9-990F0E9F15BD}" srcOrd="2" destOrd="0" presId="urn:microsoft.com/office/officeart/2008/layout/SquareAccentList"/>
    <dgm:cxn modelId="{03CA5FD9-174A-4283-93E5-89DE0F2DFEBF}" type="presParOf" srcId="{AE14892C-D8B2-4925-8081-409B3C414F59}" destId="{800431BC-227C-456C-9D97-64258D3519DB}" srcOrd="1" destOrd="0" presId="urn:microsoft.com/office/officeart/2008/layout/SquareAccentList"/>
    <dgm:cxn modelId="{555B1917-9965-4C1F-9EA2-5A9AEF3DBB6C}" type="presParOf" srcId="{800431BC-227C-456C-9D97-64258D3519DB}" destId="{CEBC1AC1-B8AE-4745-8245-06D92471B0B5}" srcOrd="0" destOrd="0" presId="urn:microsoft.com/office/officeart/2008/layout/SquareAccentList"/>
    <dgm:cxn modelId="{3FA250DE-12AC-40C5-9B78-8E7D216C335C}" type="presParOf" srcId="{CEBC1AC1-B8AE-4745-8245-06D92471B0B5}" destId="{09925E73-83A1-4804-8BC5-865B1A2F0941}" srcOrd="0" destOrd="0" presId="urn:microsoft.com/office/officeart/2008/layout/SquareAccentList"/>
    <dgm:cxn modelId="{F28228FF-08F8-4460-9ED1-F5D3842DCC2A}" type="presParOf" srcId="{CEBC1AC1-B8AE-4745-8245-06D92471B0B5}" destId="{5D6A702B-346E-4F78-B7CB-CD4C96889F6B}" srcOrd="1" destOrd="0" presId="urn:microsoft.com/office/officeart/2008/layout/SquareAccentList"/>
    <dgm:cxn modelId="{1CE1695F-8FF6-48B6-BD39-041A943110EC}" type="presParOf" srcId="{800431BC-227C-456C-9D97-64258D3519DB}" destId="{6BA585F6-368B-41DF-9684-40D5F79BAA75}" srcOrd="1" destOrd="0" presId="urn:microsoft.com/office/officeart/2008/layout/SquareAccentList"/>
    <dgm:cxn modelId="{F517F8BF-F196-4490-AFE7-306BD644652B}" type="presParOf" srcId="{6BA585F6-368B-41DF-9684-40D5F79BAA75}" destId="{5FCD4303-ADDB-49E3-8A0A-A7F582EA1DD5}" srcOrd="0" destOrd="0" presId="urn:microsoft.com/office/officeart/2008/layout/SquareAccentList"/>
    <dgm:cxn modelId="{1C144308-5761-4C26-9D5B-DC07BE3EB9AF}" type="presParOf" srcId="{6BA585F6-368B-41DF-9684-40D5F79BAA75}" destId="{FA752A9C-305B-4784-958D-E748E67301E2}" srcOrd="1" destOrd="0" presId="urn:microsoft.com/office/officeart/2008/layout/SquareAccentList"/>
    <dgm:cxn modelId="{F5A3750D-4092-4EBE-AC28-192B66780FAC}" type="presParOf" srcId="{800431BC-227C-456C-9D97-64258D3519DB}" destId="{A3D92EC7-E508-405B-8BFB-708258D630DF}" srcOrd="2" destOrd="0" presId="urn:microsoft.com/office/officeart/2008/layout/SquareAccentList"/>
    <dgm:cxn modelId="{63CE5178-4E11-4F31-9F18-3E4A4B487BD5}" type="presParOf" srcId="{A3D92EC7-E508-405B-8BFB-708258D630DF}" destId="{9A850FCB-1578-48FB-8C42-39C55D2500DD}" srcOrd="0" destOrd="0" presId="urn:microsoft.com/office/officeart/2008/layout/SquareAccentList"/>
    <dgm:cxn modelId="{CBA41E63-EB91-49F4-BEBC-E3BFCE92FC61}" type="presParOf" srcId="{A3D92EC7-E508-405B-8BFB-708258D630DF}" destId="{DE7782AE-CFC4-4DA5-862D-CC46E2BA0D19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87DCC64-F194-47B3-832D-5BEA1903071F}" type="doc">
      <dgm:prSet loTypeId="urn:microsoft.com/office/officeart/2008/layout/SquareAccentList" loCatId="list" qsTypeId="urn:microsoft.com/office/officeart/2005/8/quickstyle/simple1" qsCatId="simple" csTypeId="urn:microsoft.com/office/officeart/2005/8/colors/accent1_5" csCatId="accent1" phldr="1"/>
      <dgm:spPr/>
      <dgm:t>
        <a:bodyPr/>
        <a:lstStyle/>
        <a:p>
          <a:endParaRPr lang="fr-CH"/>
        </a:p>
      </dgm:t>
    </dgm:pt>
    <dgm:pt modelId="{7E3B8D61-EB26-4C7F-A924-0D086638C2E4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dirty="0"/>
            <a:t>Drivers</a:t>
          </a:r>
          <a:endParaRPr lang="fr-CH" sz="2800" dirty="0"/>
        </a:p>
      </dgm:t>
    </dgm:pt>
    <dgm:pt modelId="{AA6E97D3-B05D-409B-B6FB-D7B64E70E661}" type="parTrans" cxnId="{4874B183-175B-465E-A90A-2F06137FB895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318E70C1-69C7-4CAF-ACBC-A9DB08A93B81}" type="sibTrans" cxnId="{4874B183-175B-465E-A90A-2F06137FB895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AABED04-E51E-4BA5-A46E-AFF0B3F22B2D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Involvement in pilot and WHO endorsement</a:t>
          </a:r>
          <a:endParaRPr lang="fr-CH" sz="1800" dirty="0"/>
        </a:p>
      </dgm:t>
    </dgm:pt>
    <dgm:pt modelId="{3ACBDB69-3591-4A47-9658-9EAF6B2078A5}" type="parTrans" cxnId="{50DEA405-4151-4C83-B55E-5B47B6772702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9719C99B-6866-424F-9D2C-B6372FF021C2}" type="sibTrans" cxnId="{50DEA405-4151-4C83-B55E-5B47B6772702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DE319436-5BD8-46AD-8180-74B8152151E8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Building on past experience: immunization campaigns, existing infrastructures</a:t>
          </a:r>
          <a:endParaRPr lang="fr-CH" sz="1800" dirty="0"/>
        </a:p>
      </dgm:t>
    </dgm:pt>
    <dgm:pt modelId="{54C4E46C-5C37-4C75-946E-BCD21F5B990A}" type="parTrans" cxnId="{D6C2E8FD-2118-4003-AFE5-A97D92912DD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3D40D949-BB4C-4596-AFAE-577D1E0990C1}" type="sibTrans" cxnId="{D6C2E8FD-2118-4003-AFE5-A97D92912DD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86B3281-F5EE-4452-8406-4CE8EFB7786D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Free access at public health facilities</a:t>
          </a:r>
          <a:endParaRPr lang="fr-CH" sz="1800" dirty="0"/>
        </a:p>
      </dgm:t>
    </dgm:pt>
    <dgm:pt modelId="{6F4A1409-A1DA-4E86-8270-4E9EC59EBF09}" type="parTrans" cxnId="{C863AAE8-BA35-4C23-BC1E-FE8643EED2BD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F24DC379-CD35-4098-B64F-207926EF54DB}" type="sibTrans" cxnId="{C863AAE8-BA35-4C23-BC1E-FE8643EED2BD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4D8B9187-540A-4490-820C-E7EB5EA6CE43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dirty="0"/>
            <a:t>Barriers</a:t>
          </a:r>
          <a:endParaRPr lang="fr-CH" sz="3200" dirty="0"/>
        </a:p>
      </dgm:t>
    </dgm:pt>
    <dgm:pt modelId="{A9B82817-B1C5-43D5-821F-580C6B76F562}" type="parTrans" cxnId="{52AC0FD3-CF0A-45C9-9ABE-47605FD14EB3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A1699FF-BAA4-447B-94CD-94A932BC1643}" type="sibTrans" cxnId="{52AC0FD3-CF0A-45C9-9ABE-47605FD14EB3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A4D56F3-5DF3-4C6A-9C18-86CCF2DCB549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4</a:t>
          </a:r>
          <a:r>
            <a:rPr lang="en-US" sz="1800" baseline="30000" dirty="0"/>
            <a:t>th</a:t>
          </a:r>
          <a:r>
            <a:rPr lang="en-US" sz="1800" dirty="0"/>
            <a:t> doses is challenging as it doesn’t fit with current vaccination schedules.</a:t>
          </a:r>
          <a:endParaRPr lang="fr-CH" sz="1800" dirty="0"/>
        </a:p>
      </dgm:t>
    </dgm:pt>
    <dgm:pt modelId="{CBCE45F6-339A-40FD-A7D1-A3B866D286D7}" type="parTrans" cxnId="{EF6CE556-34AB-440A-A1B0-BE0FE7752C48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E5E6CAA5-4E8A-4277-AD04-924FFDBE926A}" type="sibTrans" cxnId="{EF6CE556-34AB-440A-A1B0-BE0FE7752C48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D7A37DEB-6EEF-49AF-9935-BA78D419DABE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Hesitancy</a:t>
          </a:r>
          <a:endParaRPr lang="fr-CH" sz="1800" dirty="0"/>
        </a:p>
      </dgm:t>
    </dgm:pt>
    <dgm:pt modelId="{8DC58633-5716-4E86-BBCF-9306FD81C152}" type="parTrans" cxnId="{CEDA5E8E-E70E-4671-86FE-FEC9DEAA801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F0103FF8-866E-460F-8CCA-494EBCFBE6D6}" type="sibTrans" cxnId="{CEDA5E8E-E70E-4671-86FE-FEC9DEAA801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D68CFE9-403D-4744-BAC8-A7ED46A4002E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Indirect cost (transportation)</a:t>
          </a:r>
        </a:p>
      </dgm:t>
    </dgm:pt>
    <dgm:pt modelId="{B9AAED97-8BB5-4303-9732-10D996CD735F}" type="parTrans" cxnId="{3FB7F4CC-CCFE-460C-808F-B982660362F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D2FD7E1-A2CF-4674-AEE8-A4D324F8BB06}" type="sibTrans" cxnId="{3FB7F4CC-CCFE-460C-808F-B982660362FB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54DE0C1C-8E51-4B67-8848-4E343091EBBA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Community engagement</a:t>
          </a:r>
          <a:endParaRPr lang="fr-CH" sz="1800" dirty="0"/>
        </a:p>
      </dgm:t>
    </dgm:pt>
    <dgm:pt modelId="{18CE6B21-2C71-4EBB-A420-6D312E8EFF0A}" type="parTrans" cxnId="{A92775A4-3D79-4C5B-AEE9-802EA4E943D1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AA6A9275-678B-494E-846E-B307B470C81C}" type="sibTrans" cxnId="{A92775A4-3D79-4C5B-AEE9-802EA4E943D1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86E64951-4D83-4E27-93E2-736BB729CB32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/>
            <a:t>Capacity building and competing budget (Covid-19)</a:t>
          </a:r>
        </a:p>
      </dgm:t>
    </dgm:pt>
    <dgm:pt modelId="{AEECD0B0-E426-40E4-9341-3B4CC21C49D9}" type="parTrans" cxnId="{9AB9D795-B64B-4516-8FAE-15E9FE93BE0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89188891-633E-4426-93AB-E6CB40E5477E}" type="sibTrans" cxnId="{9AB9D795-B64B-4516-8FAE-15E9FE93BE04}">
      <dgm:prSet/>
      <dgm:spPr/>
      <dgm:t>
        <a:bodyPr/>
        <a:lstStyle/>
        <a:p>
          <a:pPr>
            <a:lnSpc>
              <a:spcPct val="100000"/>
            </a:lnSpc>
          </a:pPr>
          <a:endParaRPr lang="fr-CH"/>
        </a:p>
      </dgm:t>
    </dgm:pt>
    <dgm:pt modelId="{052FD37D-47CA-4CAB-A16C-ED6DF2159A73}" type="pres">
      <dgm:prSet presAssocID="{187DCC64-F194-47B3-832D-5BEA1903071F}" presName="layout" presStyleCnt="0">
        <dgm:presLayoutVars>
          <dgm:chMax/>
          <dgm:chPref/>
          <dgm:dir/>
          <dgm:resizeHandles/>
        </dgm:presLayoutVars>
      </dgm:prSet>
      <dgm:spPr/>
    </dgm:pt>
    <dgm:pt modelId="{8CA40385-A49B-4CBB-9573-0AFE31188F79}" type="pres">
      <dgm:prSet presAssocID="{7E3B8D61-EB26-4C7F-A924-0D086638C2E4}" presName="root" presStyleCnt="0">
        <dgm:presLayoutVars>
          <dgm:chMax/>
          <dgm:chPref/>
        </dgm:presLayoutVars>
      </dgm:prSet>
      <dgm:spPr/>
    </dgm:pt>
    <dgm:pt modelId="{4F3F0204-EF6D-4406-9CDC-1B7F56A3B9C3}" type="pres">
      <dgm:prSet presAssocID="{7E3B8D61-EB26-4C7F-A924-0D086638C2E4}" presName="rootComposite" presStyleCnt="0">
        <dgm:presLayoutVars/>
      </dgm:prSet>
      <dgm:spPr/>
    </dgm:pt>
    <dgm:pt modelId="{AD14A85F-791E-4A3D-9CC3-902F8E0E2737}" type="pres">
      <dgm:prSet presAssocID="{7E3B8D61-EB26-4C7F-A924-0D086638C2E4}" presName="ParentAccent" presStyleLbl="alignNode1" presStyleIdx="0" presStyleCnt="2"/>
      <dgm:spPr/>
    </dgm:pt>
    <dgm:pt modelId="{C2942E77-5925-449A-B1BD-5BE0355FD352}" type="pres">
      <dgm:prSet presAssocID="{7E3B8D61-EB26-4C7F-A924-0D086638C2E4}" presName="ParentSmallAccent" presStyleLbl="fgAcc1" presStyleIdx="0" presStyleCnt="2"/>
      <dgm:spPr/>
    </dgm:pt>
    <dgm:pt modelId="{F2E95340-5B83-4886-80B1-A8F66C8FEBAB}" type="pres">
      <dgm:prSet presAssocID="{7E3B8D61-EB26-4C7F-A924-0D086638C2E4}" presName="Parent" presStyleLbl="revTx" presStyleIdx="0" presStyleCnt="10" custLinFactNeighborX="-236">
        <dgm:presLayoutVars>
          <dgm:chMax/>
          <dgm:chPref val="4"/>
          <dgm:bulletEnabled val="1"/>
        </dgm:presLayoutVars>
      </dgm:prSet>
      <dgm:spPr/>
    </dgm:pt>
    <dgm:pt modelId="{AF05DC45-2D78-4B05-9E62-F1BA91CEC682}" type="pres">
      <dgm:prSet presAssocID="{7E3B8D61-EB26-4C7F-A924-0D086638C2E4}" presName="childShape" presStyleCnt="0">
        <dgm:presLayoutVars>
          <dgm:chMax val="0"/>
          <dgm:chPref val="0"/>
        </dgm:presLayoutVars>
      </dgm:prSet>
      <dgm:spPr/>
    </dgm:pt>
    <dgm:pt modelId="{209341EB-9F86-4EA0-950A-361AA9B7A79D}" type="pres">
      <dgm:prSet presAssocID="{5AABED04-E51E-4BA5-A46E-AFF0B3F22B2D}" presName="childComposite" presStyleCnt="0">
        <dgm:presLayoutVars>
          <dgm:chMax val="0"/>
          <dgm:chPref val="0"/>
        </dgm:presLayoutVars>
      </dgm:prSet>
      <dgm:spPr/>
    </dgm:pt>
    <dgm:pt modelId="{4FC1BECF-D772-44C0-A5CC-080569E46FC8}" type="pres">
      <dgm:prSet presAssocID="{5AABED04-E51E-4BA5-A46E-AFF0B3F22B2D}" presName="ChildAccent" presStyleLbl="solidFgAcc1" presStyleIdx="0" presStyleCnt="8"/>
      <dgm:spPr/>
    </dgm:pt>
    <dgm:pt modelId="{0D2F0B97-468F-4487-B1C3-D1FDC3F17C74}" type="pres">
      <dgm:prSet presAssocID="{5AABED04-E51E-4BA5-A46E-AFF0B3F22B2D}" presName="Child" presStyleLbl="revTx" presStyleIdx="1" presStyleCnt="10">
        <dgm:presLayoutVars>
          <dgm:chMax val="0"/>
          <dgm:chPref val="0"/>
          <dgm:bulletEnabled val="1"/>
        </dgm:presLayoutVars>
      </dgm:prSet>
      <dgm:spPr/>
    </dgm:pt>
    <dgm:pt modelId="{5300F34A-0A8B-4176-BCB2-1255BCB72735}" type="pres">
      <dgm:prSet presAssocID="{DE319436-5BD8-46AD-8180-74B8152151E8}" presName="childComposite" presStyleCnt="0">
        <dgm:presLayoutVars>
          <dgm:chMax val="0"/>
          <dgm:chPref val="0"/>
        </dgm:presLayoutVars>
      </dgm:prSet>
      <dgm:spPr/>
    </dgm:pt>
    <dgm:pt modelId="{AFBCB24F-B421-440B-AC91-D955020B40DB}" type="pres">
      <dgm:prSet presAssocID="{DE319436-5BD8-46AD-8180-74B8152151E8}" presName="ChildAccent" presStyleLbl="solidFgAcc1" presStyleIdx="1" presStyleCnt="8"/>
      <dgm:spPr/>
    </dgm:pt>
    <dgm:pt modelId="{25406BD3-B702-4512-8871-310A3B4081EF}" type="pres">
      <dgm:prSet presAssocID="{DE319436-5BD8-46AD-8180-74B8152151E8}" presName="Child" presStyleLbl="revTx" presStyleIdx="2" presStyleCnt="10">
        <dgm:presLayoutVars>
          <dgm:chMax val="0"/>
          <dgm:chPref val="0"/>
          <dgm:bulletEnabled val="1"/>
        </dgm:presLayoutVars>
      </dgm:prSet>
      <dgm:spPr/>
    </dgm:pt>
    <dgm:pt modelId="{4A4D25AB-086E-4879-886C-F5F7C13CA74B}" type="pres">
      <dgm:prSet presAssocID="{586B3281-F5EE-4452-8406-4CE8EFB7786D}" presName="childComposite" presStyleCnt="0">
        <dgm:presLayoutVars>
          <dgm:chMax val="0"/>
          <dgm:chPref val="0"/>
        </dgm:presLayoutVars>
      </dgm:prSet>
      <dgm:spPr/>
    </dgm:pt>
    <dgm:pt modelId="{4DA15D16-71AF-4289-8435-A8EC05940F14}" type="pres">
      <dgm:prSet presAssocID="{586B3281-F5EE-4452-8406-4CE8EFB7786D}" presName="ChildAccent" presStyleLbl="solidFgAcc1" presStyleIdx="2" presStyleCnt="8"/>
      <dgm:spPr/>
    </dgm:pt>
    <dgm:pt modelId="{9DA866B2-1F9B-4881-85F4-7DB41645FCBC}" type="pres">
      <dgm:prSet presAssocID="{586B3281-F5EE-4452-8406-4CE8EFB7786D}" presName="Child" presStyleLbl="revTx" presStyleIdx="3" presStyleCnt="10">
        <dgm:presLayoutVars>
          <dgm:chMax val="0"/>
          <dgm:chPref val="0"/>
          <dgm:bulletEnabled val="1"/>
        </dgm:presLayoutVars>
      </dgm:prSet>
      <dgm:spPr/>
    </dgm:pt>
    <dgm:pt modelId="{9DE0917B-FBF7-4185-9D47-EC4623102C1E}" type="pres">
      <dgm:prSet presAssocID="{54DE0C1C-8E51-4B67-8848-4E343091EBBA}" presName="childComposite" presStyleCnt="0">
        <dgm:presLayoutVars>
          <dgm:chMax val="0"/>
          <dgm:chPref val="0"/>
        </dgm:presLayoutVars>
      </dgm:prSet>
      <dgm:spPr/>
    </dgm:pt>
    <dgm:pt modelId="{3CF3C2CA-3D69-4FAD-AD9D-5D9BCC85353B}" type="pres">
      <dgm:prSet presAssocID="{54DE0C1C-8E51-4B67-8848-4E343091EBBA}" presName="ChildAccent" presStyleLbl="solidFgAcc1" presStyleIdx="3" presStyleCnt="8"/>
      <dgm:spPr/>
    </dgm:pt>
    <dgm:pt modelId="{7E3563F4-7E5C-4983-8266-31FEB4C76E3E}" type="pres">
      <dgm:prSet presAssocID="{54DE0C1C-8E51-4B67-8848-4E343091EBBA}" presName="Child" presStyleLbl="revTx" presStyleIdx="4" presStyleCnt="10">
        <dgm:presLayoutVars>
          <dgm:chMax val="0"/>
          <dgm:chPref val="0"/>
          <dgm:bulletEnabled val="1"/>
        </dgm:presLayoutVars>
      </dgm:prSet>
      <dgm:spPr/>
    </dgm:pt>
    <dgm:pt modelId="{AE14892C-D8B2-4925-8081-409B3C414F59}" type="pres">
      <dgm:prSet presAssocID="{4D8B9187-540A-4490-820C-E7EB5EA6CE43}" presName="root" presStyleCnt="0">
        <dgm:presLayoutVars>
          <dgm:chMax/>
          <dgm:chPref/>
        </dgm:presLayoutVars>
      </dgm:prSet>
      <dgm:spPr/>
    </dgm:pt>
    <dgm:pt modelId="{FA8292FE-ED6C-4D11-8CF1-B4389A35D963}" type="pres">
      <dgm:prSet presAssocID="{4D8B9187-540A-4490-820C-E7EB5EA6CE43}" presName="rootComposite" presStyleCnt="0">
        <dgm:presLayoutVars/>
      </dgm:prSet>
      <dgm:spPr/>
    </dgm:pt>
    <dgm:pt modelId="{F1AFEEEF-BC0C-4174-A1D1-CBC877399387}" type="pres">
      <dgm:prSet presAssocID="{4D8B9187-540A-4490-820C-E7EB5EA6CE43}" presName="ParentAccent" presStyleLbl="alignNode1" presStyleIdx="1" presStyleCnt="2"/>
      <dgm:spPr/>
    </dgm:pt>
    <dgm:pt modelId="{9F9F6D26-12D3-435B-B987-C85A65EDDAE7}" type="pres">
      <dgm:prSet presAssocID="{4D8B9187-540A-4490-820C-E7EB5EA6CE43}" presName="ParentSmallAccent" presStyleLbl="fgAcc1" presStyleIdx="1" presStyleCnt="2"/>
      <dgm:spPr/>
    </dgm:pt>
    <dgm:pt modelId="{35D18728-AF72-4DE6-BAF9-990F0E9F15BD}" type="pres">
      <dgm:prSet presAssocID="{4D8B9187-540A-4490-820C-E7EB5EA6CE43}" presName="Parent" presStyleLbl="revTx" presStyleIdx="5" presStyleCnt="10">
        <dgm:presLayoutVars>
          <dgm:chMax/>
          <dgm:chPref val="4"/>
          <dgm:bulletEnabled val="1"/>
        </dgm:presLayoutVars>
      </dgm:prSet>
      <dgm:spPr/>
    </dgm:pt>
    <dgm:pt modelId="{800431BC-227C-456C-9D97-64258D3519DB}" type="pres">
      <dgm:prSet presAssocID="{4D8B9187-540A-4490-820C-E7EB5EA6CE43}" presName="childShape" presStyleCnt="0">
        <dgm:presLayoutVars>
          <dgm:chMax val="0"/>
          <dgm:chPref val="0"/>
        </dgm:presLayoutVars>
      </dgm:prSet>
      <dgm:spPr/>
    </dgm:pt>
    <dgm:pt modelId="{CEBC1AC1-B8AE-4745-8245-06D92471B0B5}" type="pres">
      <dgm:prSet presAssocID="{5A4D56F3-5DF3-4C6A-9C18-86CCF2DCB549}" presName="childComposite" presStyleCnt="0">
        <dgm:presLayoutVars>
          <dgm:chMax val="0"/>
          <dgm:chPref val="0"/>
        </dgm:presLayoutVars>
      </dgm:prSet>
      <dgm:spPr/>
    </dgm:pt>
    <dgm:pt modelId="{09925E73-83A1-4804-8BC5-865B1A2F0941}" type="pres">
      <dgm:prSet presAssocID="{5A4D56F3-5DF3-4C6A-9C18-86CCF2DCB549}" presName="ChildAccent" presStyleLbl="solidFgAcc1" presStyleIdx="4" presStyleCnt="8"/>
      <dgm:spPr/>
    </dgm:pt>
    <dgm:pt modelId="{5D6A702B-346E-4F78-B7CB-CD4C96889F6B}" type="pres">
      <dgm:prSet presAssocID="{5A4D56F3-5DF3-4C6A-9C18-86CCF2DCB549}" presName="Child" presStyleLbl="revTx" presStyleIdx="6" presStyleCnt="10">
        <dgm:presLayoutVars>
          <dgm:chMax val="0"/>
          <dgm:chPref val="0"/>
          <dgm:bulletEnabled val="1"/>
        </dgm:presLayoutVars>
      </dgm:prSet>
      <dgm:spPr/>
    </dgm:pt>
    <dgm:pt modelId="{6BA585F6-368B-41DF-9684-40D5F79BAA75}" type="pres">
      <dgm:prSet presAssocID="{D7A37DEB-6EEF-49AF-9935-BA78D419DABE}" presName="childComposite" presStyleCnt="0">
        <dgm:presLayoutVars>
          <dgm:chMax val="0"/>
          <dgm:chPref val="0"/>
        </dgm:presLayoutVars>
      </dgm:prSet>
      <dgm:spPr/>
    </dgm:pt>
    <dgm:pt modelId="{5FCD4303-ADDB-49E3-8A0A-A7F582EA1DD5}" type="pres">
      <dgm:prSet presAssocID="{D7A37DEB-6EEF-49AF-9935-BA78D419DABE}" presName="ChildAccent" presStyleLbl="solidFgAcc1" presStyleIdx="5" presStyleCnt="8"/>
      <dgm:spPr/>
    </dgm:pt>
    <dgm:pt modelId="{FA752A9C-305B-4784-958D-E748E67301E2}" type="pres">
      <dgm:prSet presAssocID="{D7A37DEB-6EEF-49AF-9935-BA78D419DABE}" presName="Child" presStyleLbl="revTx" presStyleIdx="7" presStyleCnt="10">
        <dgm:presLayoutVars>
          <dgm:chMax val="0"/>
          <dgm:chPref val="0"/>
          <dgm:bulletEnabled val="1"/>
        </dgm:presLayoutVars>
      </dgm:prSet>
      <dgm:spPr/>
    </dgm:pt>
    <dgm:pt modelId="{A3D92EC7-E508-405B-8BFB-708258D630DF}" type="pres">
      <dgm:prSet presAssocID="{AD68CFE9-403D-4744-BAC8-A7ED46A4002E}" presName="childComposite" presStyleCnt="0">
        <dgm:presLayoutVars>
          <dgm:chMax val="0"/>
          <dgm:chPref val="0"/>
        </dgm:presLayoutVars>
      </dgm:prSet>
      <dgm:spPr/>
    </dgm:pt>
    <dgm:pt modelId="{9A850FCB-1578-48FB-8C42-39C55D2500DD}" type="pres">
      <dgm:prSet presAssocID="{AD68CFE9-403D-4744-BAC8-A7ED46A4002E}" presName="ChildAccent" presStyleLbl="solidFgAcc1" presStyleIdx="6" presStyleCnt="8"/>
      <dgm:spPr/>
    </dgm:pt>
    <dgm:pt modelId="{DE7782AE-CFC4-4DA5-862D-CC46E2BA0D19}" type="pres">
      <dgm:prSet presAssocID="{AD68CFE9-403D-4744-BAC8-A7ED46A4002E}" presName="Child" presStyleLbl="revTx" presStyleIdx="8" presStyleCnt="10">
        <dgm:presLayoutVars>
          <dgm:chMax val="0"/>
          <dgm:chPref val="0"/>
          <dgm:bulletEnabled val="1"/>
        </dgm:presLayoutVars>
      </dgm:prSet>
      <dgm:spPr/>
    </dgm:pt>
    <dgm:pt modelId="{3BA8E7B4-EABB-4259-B60B-35D2D298CFEF}" type="pres">
      <dgm:prSet presAssocID="{86E64951-4D83-4E27-93E2-736BB729CB32}" presName="childComposite" presStyleCnt="0">
        <dgm:presLayoutVars>
          <dgm:chMax val="0"/>
          <dgm:chPref val="0"/>
        </dgm:presLayoutVars>
      </dgm:prSet>
      <dgm:spPr/>
    </dgm:pt>
    <dgm:pt modelId="{F959CF80-F484-4C34-B0E6-2B389FCC629D}" type="pres">
      <dgm:prSet presAssocID="{86E64951-4D83-4E27-93E2-736BB729CB32}" presName="ChildAccent" presStyleLbl="solidFgAcc1" presStyleIdx="7" presStyleCnt="8"/>
      <dgm:spPr/>
    </dgm:pt>
    <dgm:pt modelId="{F7E64D3F-8733-475B-B21D-163D3CA3C67C}" type="pres">
      <dgm:prSet presAssocID="{86E64951-4D83-4E27-93E2-736BB729CB32}" presName="Child" presStyleLbl="revTx" presStyleIdx="9" presStyleCnt="10">
        <dgm:presLayoutVars>
          <dgm:chMax val="0"/>
          <dgm:chPref val="0"/>
          <dgm:bulletEnabled val="1"/>
        </dgm:presLayoutVars>
      </dgm:prSet>
      <dgm:spPr/>
    </dgm:pt>
  </dgm:ptLst>
  <dgm:cxnLst>
    <dgm:cxn modelId="{50DEA405-4151-4C83-B55E-5B47B6772702}" srcId="{7E3B8D61-EB26-4C7F-A924-0D086638C2E4}" destId="{5AABED04-E51E-4BA5-A46E-AFF0B3F22B2D}" srcOrd="0" destOrd="0" parTransId="{3ACBDB69-3591-4A47-9658-9EAF6B2078A5}" sibTransId="{9719C99B-6866-424F-9D2C-B6372FF021C2}"/>
    <dgm:cxn modelId="{2F310E25-2B11-4513-89C1-5534708D6FE5}" type="presOf" srcId="{D7A37DEB-6EEF-49AF-9935-BA78D419DABE}" destId="{FA752A9C-305B-4784-958D-E748E67301E2}" srcOrd="0" destOrd="0" presId="urn:microsoft.com/office/officeart/2008/layout/SquareAccentList"/>
    <dgm:cxn modelId="{39068227-D90A-4AE9-9556-1FF7FAADE70D}" type="presOf" srcId="{5A4D56F3-5DF3-4C6A-9C18-86CCF2DCB549}" destId="{5D6A702B-346E-4F78-B7CB-CD4C96889F6B}" srcOrd="0" destOrd="0" presId="urn:microsoft.com/office/officeart/2008/layout/SquareAccentList"/>
    <dgm:cxn modelId="{48FA7440-2E6A-457B-93B5-B5C1D89D2CF8}" type="presOf" srcId="{86E64951-4D83-4E27-93E2-736BB729CB32}" destId="{F7E64D3F-8733-475B-B21D-163D3CA3C67C}" srcOrd="0" destOrd="0" presId="urn:microsoft.com/office/officeart/2008/layout/SquareAccentList"/>
    <dgm:cxn modelId="{1824495E-F90B-4652-B2F0-3D56F0EEF71E}" type="presOf" srcId="{DE319436-5BD8-46AD-8180-74B8152151E8}" destId="{25406BD3-B702-4512-8871-310A3B4081EF}" srcOrd="0" destOrd="0" presId="urn:microsoft.com/office/officeart/2008/layout/SquareAccentList"/>
    <dgm:cxn modelId="{B9251746-1941-4BED-A5E4-7698069FCF91}" type="presOf" srcId="{54DE0C1C-8E51-4B67-8848-4E343091EBBA}" destId="{7E3563F4-7E5C-4983-8266-31FEB4C76E3E}" srcOrd="0" destOrd="0" presId="urn:microsoft.com/office/officeart/2008/layout/SquareAccentList"/>
    <dgm:cxn modelId="{13D57567-9E91-4370-B425-6FDC967A1957}" type="presOf" srcId="{5AABED04-E51E-4BA5-A46E-AFF0B3F22B2D}" destId="{0D2F0B97-468F-4487-B1C3-D1FDC3F17C74}" srcOrd="0" destOrd="0" presId="urn:microsoft.com/office/officeart/2008/layout/SquareAccentList"/>
    <dgm:cxn modelId="{B98D0B6F-DAF2-4B14-A5B8-8B628A69F937}" type="presOf" srcId="{7E3B8D61-EB26-4C7F-A924-0D086638C2E4}" destId="{F2E95340-5B83-4886-80B1-A8F66C8FEBAB}" srcOrd="0" destOrd="0" presId="urn:microsoft.com/office/officeart/2008/layout/SquareAccentList"/>
    <dgm:cxn modelId="{EF6CE556-34AB-440A-A1B0-BE0FE7752C48}" srcId="{4D8B9187-540A-4490-820C-E7EB5EA6CE43}" destId="{5A4D56F3-5DF3-4C6A-9C18-86CCF2DCB549}" srcOrd="0" destOrd="0" parTransId="{CBCE45F6-339A-40FD-A7D1-A3B866D286D7}" sibTransId="{E5E6CAA5-4E8A-4277-AD04-924FFDBE926A}"/>
    <dgm:cxn modelId="{4874B183-175B-465E-A90A-2F06137FB895}" srcId="{187DCC64-F194-47B3-832D-5BEA1903071F}" destId="{7E3B8D61-EB26-4C7F-A924-0D086638C2E4}" srcOrd="0" destOrd="0" parTransId="{AA6E97D3-B05D-409B-B6FB-D7B64E70E661}" sibTransId="{318E70C1-69C7-4CAF-ACBC-A9DB08A93B81}"/>
    <dgm:cxn modelId="{CEDA5E8E-E70E-4671-86FE-FEC9DEAA8014}" srcId="{4D8B9187-540A-4490-820C-E7EB5EA6CE43}" destId="{D7A37DEB-6EEF-49AF-9935-BA78D419DABE}" srcOrd="1" destOrd="0" parTransId="{8DC58633-5716-4E86-BBCF-9306FD81C152}" sibTransId="{F0103FF8-866E-460F-8CCA-494EBCFBE6D6}"/>
    <dgm:cxn modelId="{9AB9D795-B64B-4516-8FAE-15E9FE93BE04}" srcId="{4D8B9187-540A-4490-820C-E7EB5EA6CE43}" destId="{86E64951-4D83-4E27-93E2-736BB729CB32}" srcOrd="3" destOrd="0" parTransId="{AEECD0B0-E426-40E4-9341-3B4CC21C49D9}" sibTransId="{89188891-633E-4426-93AB-E6CB40E5477E}"/>
    <dgm:cxn modelId="{A92775A4-3D79-4C5B-AEE9-802EA4E943D1}" srcId="{7E3B8D61-EB26-4C7F-A924-0D086638C2E4}" destId="{54DE0C1C-8E51-4B67-8848-4E343091EBBA}" srcOrd="3" destOrd="0" parTransId="{18CE6B21-2C71-4EBB-A420-6D312E8EFF0A}" sibTransId="{AA6A9275-678B-494E-846E-B307B470C81C}"/>
    <dgm:cxn modelId="{3FB7F4CC-CCFE-460C-808F-B982660362FB}" srcId="{4D8B9187-540A-4490-820C-E7EB5EA6CE43}" destId="{AD68CFE9-403D-4744-BAC8-A7ED46A4002E}" srcOrd="2" destOrd="0" parTransId="{B9AAED97-8BB5-4303-9732-10D996CD735F}" sibTransId="{AD2FD7E1-A2CF-4674-AEE8-A4D324F8BB06}"/>
    <dgm:cxn modelId="{CB2819CF-BD1D-4E0F-B205-6D3065E1729D}" type="presOf" srcId="{4D8B9187-540A-4490-820C-E7EB5EA6CE43}" destId="{35D18728-AF72-4DE6-BAF9-990F0E9F15BD}" srcOrd="0" destOrd="0" presId="urn:microsoft.com/office/officeart/2008/layout/SquareAccentList"/>
    <dgm:cxn modelId="{52AC0FD3-CF0A-45C9-9ABE-47605FD14EB3}" srcId="{187DCC64-F194-47B3-832D-5BEA1903071F}" destId="{4D8B9187-540A-4490-820C-E7EB5EA6CE43}" srcOrd="1" destOrd="0" parTransId="{A9B82817-B1C5-43D5-821F-580C6B76F562}" sibTransId="{AA1699FF-BAA4-447B-94CD-94A932BC1643}"/>
    <dgm:cxn modelId="{31B376D7-7A16-4DED-B249-F961ED3619B3}" type="presOf" srcId="{586B3281-F5EE-4452-8406-4CE8EFB7786D}" destId="{9DA866B2-1F9B-4881-85F4-7DB41645FCBC}" srcOrd="0" destOrd="0" presId="urn:microsoft.com/office/officeart/2008/layout/SquareAccentList"/>
    <dgm:cxn modelId="{B8B58FD9-4F66-4EA5-A72D-C50F6CDEBD41}" type="presOf" srcId="{AD68CFE9-403D-4744-BAC8-A7ED46A4002E}" destId="{DE7782AE-CFC4-4DA5-862D-CC46E2BA0D19}" srcOrd="0" destOrd="0" presId="urn:microsoft.com/office/officeart/2008/layout/SquareAccentList"/>
    <dgm:cxn modelId="{4DD46DE8-E152-4DC8-B508-0106A2691341}" type="presOf" srcId="{187DCC64-F194-47B3-832D-5BEA1903071F}" destId="{052FD37D-47CA-4CAB-A16C-ED6DF2159A73}" srcOrd="0" destOrd="0" presId="urn:microsoft.com/office/officeart/2008/layout/SquareAccentList"/>
    <dgm:cxn modelId="{C863AAE8-BA35-4C23-BC1E-FE8643EED2BD}" srcId="{7E3B8D61-EB26-4C7F-A924-0D086638C2E4}" destId="{586B3281-F5EE-4452-8406-4CE8EFB7786D}" srcOrd="2" destOrd="0" parTransId="{6F4A1409-A1DA-4E86-8270-4E9EC59EBF09}" sibTransId="{F24DC379-CD35-4098-B64F-207926EF54DB}"/>
    <dgm:cxn modelId="{D6C2E8FD-2118-4003-AFE5-A97D92912DDB}" srcId="{7E3B8D61-EB26-4C7F-A924-0D086638C2E4}" destId="{DE319436-5BD8-46AD-8180-74B8152151E8}" srcOrd="1" destOrd="0" parTransId="{54C4E46C-5C37-4C75-946E-BCD21F5B990A}" sibTransId="{3D40D949-BB4C-4596-AFAE-577D1E0990C1}"/>
    <dgm:cxn modelId="{C7B39B3F-0061-4F0D-9333-26348B188CB2}" type="presParOf" srcId="{052FD37D-47CA-4CAB-A16C-ED6DF2159A73}" destId="{8CA40385-A49B-4CBB-9573-0AFE31188F79}" srcOrd="0" destOrd="0" presId="urn:microsoft.com/office/officeart/2008/layout/SquareAccentList"/>
    <dgm:cxn modelId="{ACBAB7B0-958D-403C-A3B9-9665AFFE0AD1}" type="presParOf" srcId="{8CA40385-A49B-4CBB-9573-0AFE31188F79}" destId="{4F3F0204-EF6D-4406-9CDC-1B7F56A3B9C3}" srcOrd="0" destOrd="0" presId="urn:microsoft.com/office/officeart/2008/layout/SquareAccentList"/>
    <dgm:cxn modelId="{D9404A42-1C57-44BE-B632-D0361AAF769F}" type="presParOf" srcId="{4F3F0204-EF6D-4406-9CDC-1B7F56A3B9C3}" destId="{AD14A85F-791E-4A3D-9CC3-902F8E0E2737}" srcOrd="0" destOrd="0" presId="urn:microsoft.com/office/officeart/2008/layout/SquareAccentList"/>
    <dgm:cxn modelId="{A6C00686-EC97-497A-9757-370CE7AB8324}" type="presParOf" srcId="{4F3F0204-EF6D-4406-9CDC-1B7F56A3B9C3}" destId="{C2942E77-5925-449A-B1BD-5BE0355FD352}" srcOrd="1" destOrd="0" presId="urn:microsoft.com/office/officeart/2008/layout/SquareAccentList"/>
    <dgm:cxn modelId="{CF695D52-CE2A-491A-8188-8BD45C7FDC61}" type="presParOf" srcId="{4F3F0204-EF6D-4406-9CDC-1B7F56A3B9C3}" destId="{F2E95340-5B83-4886-80B1-A8F66C8FEBAB}" srcOrd="2" destOrd="0" presId="urn:microsoft.com/office/officeart/2008/layout/SquareAccentList"/>
    <dgm:cxn modelId="{23A25003-D85C-4546-B6E4-B04CA75C6807}" type="presParOf" srcId="{8CA40385-A49B-4CBB-9573-0AFE31188F79}" destId="{AF05DC45-2D78-4B05-9E62-F1BA91CEC682}" srcOrd="1" destOrd="0" presId="urn:microsoft.com/office/officeart/2008/layout/SquareAccentList"/>
    <dgm:cxn modelId="{CA338A9E-24BB-4BCA-8924-C6F7F3AEDE10}" type="presParOf" srcId="{AF05DC45-2D78-4B05-9E62-F1BA91CEC682}" destId="{209341EB-9F86-4EA0-950A-361AA9B7A79D}" srcOrd="0" destOrd="0" presId="urn:microsoft.com/office/officeart/2008/layout/SquareAccentList"/>
    <dgm:cxn modelId="{F6C0C219-2040-41F4-9B56-B37299451A14}" type="presParOf" srcId="{209341EB-9F86-4EA0-950A-361AA9B7A79D}" destId="{4FC1BECF-D772-44C0-A5CC-080569E46FC8}" srcOrd="0" destOrd="0" presId="urn:microsoft.com/office/officeart/2008/layout/SquareAccentList"/>
    <dgm:cxn modelId="{6DD89B99-8AB3-4A95-B0FF-D978F4FD9857}" type="presParOf" srcId="{209341EB-9F86-4EA0-950A-361AA9B7A79D}" destId="{0D2F0B97-468F-4487-B1C3-D1FDC3F17C74}" srcOrd="1" destOrd="0" presId="urn:microsoft.com/office/officeart/2008/layout/SquareAccentList"/>
    <dgm:cxn modelId="{CA9E73F8-F7CF-48FC-90E6-5DE14B82E6B7}" type="presParOf" srcId="{AF05DC45-2D78-4B05-9E62-F1BA91CEC682}" destId="{5300F34A-0A8B-4176-BCB2-1255BCB72735}" srcOrd="1" destOrd="0" presId="urn:microsoft.com/office/officeart/2008/layout/SquareAccentList"/>
    <dgm:cxn modelId="{9A4FB582-0E3B-4962-AE94-387D957097F4}" type="presParOf" srcId="{5300F34A-0A8B-4176-BCB2-1255BCB72735}" destId="{AFBCB24F-B421-440B-AC91-D955020B40DB}" srcOrd="0" destOrd="0" presId="urn:microsoft.com/office/officeart/2008/layout/SquareAccentList"/>
    <dgm:cxn modelId="{5187A10C-78BC-43EA-845A-97000D0B8ECF}" type="presParOf" srcId="{5300F34A-0A8B-4176-BCB2-1255BCB72735}" destId="{25406BD3-B702-4512-8871-310A3B4081EF}" srcOrd="1" destOrd="0" presId="urn:microsoft.com/office/officeart/2008/layout/SquareAccentList"/>
    <dgm:cxn modelId="{94D6B297-5D8C-4142-A191-8DEDD118BE8B}" type="presParOf" srcId="{AF05DC45-2D78-4B05-9E62-F1BA91CEC682}" destId="{4A4D25AB-086E-4879-886C-F5F7C13CA74B}" srcOrd="2" destOrd="0" presId="urn:microsoft.com/office/officeart/2008/layout/SquareAccentList"/>
    <dgm:cxn modelId="{0DE0A418-1B9A-425A-A143-C3025E06EA2B}" type="presParOf" srcId="{4A4D25AB-086E-4879-886C-F5F7C13CA74B}" destId="{4DA15D16-71AF-4289-8435-A8EC05940F14}" srcOrd="0" destOrd="0" presId="urn:microsoft.com/office/officeart/2008/layout/SquareAccentList"/>
    <dgm:cxn modelId="{DE23DF17-C3A5-4035-8EFE-9725A664CF27}" type="presParOf" srcId="{4A4D25AB-086E-4879-886C-F5F7C13CA74B}" destId="{9DA866B2-1F9B-4881-85F4-7DB41645FCBC}" srcOrd="1" destOrd="0" presId="urn:microsoft.com/office/officeart/2008/layout/SquareAccentList"/>
    <dgm:cxn modelId="{EE2B3A9C-C4B2-4B0B-97CF-94176F4F2CBD}" type="presParOf" srcId="{AF05DC45-2D78-4B05-9E62-F1BA91CEC682}" destId="{9DE0917B-FBF7-4185-9D47-EC4623102C1E}" srcOrd="3" destOrd="0" presId="urn:microsoft.com/office/officeart/2008/layout/SquareAccentList"/>
    <dgm:cxn modelId="{FE098E6D-DE25-43A5-AD08-FC5F6ED57FEF}" type="presParOf" srcId="{9DE0917B-FBF7-4185-9D47-EC4623102C1E}" destId="{3CF3C2CA-3D69-4FAD-AD9D-5D9BCC85353B}" srcOrd="0" destOrd="0" presId="urn:microsoft.com/office/officeart/2008/layout/SquareAccentList"/>
    <dgm:cxn modelId="{198043AB-84EE-4A86-9C89-9D3AA9180AEA}" type="presParOf" srcId="{9DE0917B-FBF7-4185-9D47-EC4623102C1E}" destId="{7E3563F4-7E5C-4983-8266-31FEB4C76E3E}" srcOrd="1" destOrd="0" presId="urn:microsoft.com/office/officeart/2008/layout/SquareAccentList"/>
    <dgm:cxn modelId="{22099193-A84E-4975-ABA2-00D1C7B7054C}" type="presParOf" srcId="{052FD37D-47CA-4CAB-A16C-ED6DF2159A73}" destId="{AE14892C-D8B2-4925-8081-409B3C414F59}" srcOrd="1" destOrd="0" presId="urn:microsoft.com/office/officeart/2008/layout/SquareAccentList"/>
    <dgm:cxn modelId="{390D349D-220D-44F5-BF40-EDFB0610E075}" type="presParOf" srcId="{AE14892C-D8B2-4925-8081-409B3C414F59}" destId="{FA8292FE-ED6C-4D11-8CF1-B4389A35D963}" srcOrd="0" destOrd="0" presId="urn:microsoft.com/office/officeart/2008/layout/SquareAccentList"/>
    <dgm:cxn modelId="{1842DE33-84ED-4297-8603-2A0E600DF971}" type="presParOf" srcId="{FA8292FE-ED6C-4D11-8CF1-B4389A35D963}" destId="{F1AFEEEF-BC0C-4174-A1D1-CBC877399387}" srcOrd="0" destOrd="0" presId="urn:microsoft.com/office/officeart/2008/layout/SquareAccentList"/>
    <dgm:cxn modelId="{F412CF40-0CE8-4A4A-89F3-3EE249E2FA86}" type="presParOf" srcId="{FA8292FE-ED6C-4D11-8CF1-B4389A35D963}" destId="{9F9F6D26-12D3-435B-B987-C85A65EDDAE7}" srcOrd="1" destOrd="0" presId="urn:microsoft.com/office/officeart/2008/layout/SquareAccentList"/>
    <dgm:cxn modelId="{3199C7F7-B5BD-4E2F-BDF5-F6E82ACF44C6}" type="presParOf" srcId="{FA8292FE-ED6C-4D11-8CF1-B4389A35D963}" destId="{35D18728-AF72-4DE6-BAF9-990F0E9F15BD}" srcOrd="2" destOrd="0" presId="urn:microsoft.com/office/officeart/2008/layout/SquareAccentList"/>
    <dgm:cxn modelId="{03CA5FD9-174A-4283-93E5-89DE0F2DFEBF}" type="presParOf" srcId="{AE14892C-D8B2-4925-8081-409B3C414F59}" destId="{800431BC-227C-456C-9D97-64258D3519DB}" srcOrd="1" destOrd="0" presId="urn:microsoft.com/office/officeart/2008/layout/SquareAccentList"/>
    <dgm:cxn modelId="{555B1917-9965-4C1F-9EA2-5A9AEF3DBB6C}" type="presParOf" srcId="{800431BC-227C-456C-9D97-64258D3519DB}" destId="{CEBC1AC1-B8AE-4745-8245-06D92471B0B5}" srcOrd="0" destOrd="0" presId="urn:microsoft.com/office/officeart/2008/layout/SquareAccentList"/>
    <dgm:cxn modelId="{3FA250DE-12AC-40C5-9B78-8E7D216C335C}" type="presParOf" srcId="{CEBC1AC1-B8AE-4745-8245-06D92471B0B5}" destId="{09925E73-83A1-4804-8BC5-865B1A2F0941}" srcOrd="0" destOrd="0" presId="urn:microsoft.com/office/officeart/2008/layout/SquareAccentList"/>
    <dgm:cxn modelId="{F28228FF-08F8-4460-9ED1-F5D3842DCC2A}" type="presParOf" srcId="{CEBC1AC1-B8AE-4745-8245-06D92471B0B5}" destId="{5D6A702B-346E-4F78-B7CB-CD4C96889F6B}" srcOrd="1" destOrd="0" presId="urn:microsoft.com/office/officeart/2008/layout/SquareAccentList"/>
    <dgm:cxn modelId="{1CE1695F-8FF6-48B6-BD39-041A943110EC}" type="presParOf" srcId="{800431BC-227C-456C-9D97-64258D3519DB}" destId="{6BA585F6-368B-41DF-9684-40D5F79BAA75}" srcOrd="1" destOrd="0" presId="urn:microsoft.com/office/officeart/2008/layout/SquareAccentList"/>
    <dgm:cxn modelId="{F517F8BF-F196-4490-AFE7-306BD644652B}" type="presParOf" srcId="{6BA585F6-368B-41DF-9684-40D5F79BAA75}" destId="{5FCD4303-ADDB-49E3-8A0A-A7F582EA1DD5}" srcOrd="0" destOrd="0" presId="urn:microsoft.com/office/officeart/2008/layout/SquareAccentList"/>
    <dgm:cxn modelId="{1C144308-5761-4C26-9D5B-DC07BE3EB9AF}" type="presParOf" srcId="{6BA585F6-368B-41DF-9684-40D5F79BAA75}" destId="{FA752A9C-305B-4784-958D-E748E67301E2}" srcOrd="1" destOrd="0" presId="urn:microsoft.com/office/officeart/2008/layout/SquareAccentList"/>
    <dgm:cxn modelId="{F5A3750D-4092-4EBE-AC28-192B66780FAC}" type="presParOf" srcId="{800431BC-227C-456C-9D97-64258D3519DB}" destId="{A3D92EC7-E508-405B-8BFB-708258D630DF}" srcOrd="2" destOrd="0" presId="urn:microsoft.com/office/officeart/2008/layout/SquareAccentList"/>
    <dgm:cxn modelId="{63CE5178-4E11-4F31-9F18-3E4A4B487BD5}" type="presParOf" srcId="{A3D92EC7-E508-405B-8BFB-708258D630DF}" destId="{9A850FCB-1578-48FB-8C42-39C55D2500DD}" srcOrd="0" destOrd="0" presId="urn:microsoft.com/office/officeart/2008/layout/SquareAccentList"/>
    <dgm:cxn modelId="{CBA41E63-EB91-49F4-BEBC-E3BFCE92FC61}" type="presParOf" srcId="{A3D92EC7-E508-405B-8BFB-708258D630DF}" destId="{DE7782AE-CFC4-4DA5-862D-CC46E2BA0D19}" srcOrd="1" destOrd="0" presId="urn:microsoft.com/office/officeart/2008/layout/SquareAccentList"/>
    <dgm:cxn modelId="{580D766B-7D6F-420B-BB49-A914E42D6384}" type="presParOf" srcId="{800431BC-227C-456C-9D97-64258D3519DB}" destId="{3BA8E7B4-EABB-4259-B60B-35D2D298CFEF}" srcOrd="3" destOrd="0" presId="urn:microsoft.com/office/officeart/2008/layout/SquareAccentList"/>
    <dgm:cxn modelId="{8F1B0B54-B520-4D67-B411-494C3180370A}" type="presParOf" srcId="{3BA8E7B4-EABB-4259-B60B-35D2D298CFEF}" destId="{F959CF80-F484-4C34-B0E6-2B389FCC629D}" srcOrd="0" destOrd="0" presId="urn:microsoft.com/office/officeart/2008/layout/SquareAccentList"/>
    <dgm:cxn modelId="{684DFAFB-8C68-46D9-AEFF-69D2B38900FA}" type="presParOf" srcId="{3BA8E7B4-EABB-4259-B60B-35D2D298CFEF}" destId="{F7E64D3F-8733-475B-B21D-163D3CA3C67C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74D8C8-BAD9-4EFB-B570-FE9458BCE5E5}">
      <dsp:nvSpPr>
        <dsp:cNvPr id="0" name=""/>
        <dsp:cNvSpPr/>
      </dsp:nvSpPr>
      <dsp:spPr>
        <a:xfrm>
          <a:off x="1961670" y="2170"/>
          <a:ext cx="3598281" cy="11398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Interventions</a:t>
          </a:r>
          <a:endParaRPr lang="fr-CH" sz="3200" kern="1200" dirty="0"/>
        </a:p>
      </dsp:txBody>
      <dsp:txXfrm>
        <a:off x="1995055" y="35555"/>
        <a:ext cx="3531511" cy="1073088"/>
      </dsp:txXfrm>
    </dsp:sp>
    <dsp:sp modelId="{F6A95A60-22D3-4D8D-B89F-59A4560FD1F6}">
      <dsp:nvSpPr>
        <dsp:cNvPr id="0" name=""/>
        <dsp:cNvSpPr/>
      </dsp:nvSpPr>
      <dsp:spPr>
        <a:xfrm>
          <a:off x="2321498" y="1142028"/>
          <a:ext cx="359828" cy="8548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4893"/>
              </a:lnTo>
              <a:lnTo>
                <a:pt x="359828" y="85489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8DFAB9-8F9A-4F83-9EF4-CF42C15D9173}">
      <dsp:nvSpPr>
        <dsp:cNvPr id="0" name=""/>
        <dsp:cNvSpPr/>
      </dsp:nvSpPr>
      <dsp:spPr>
        <a:xfrm>
          <a:off x="2681327" y="1426992"/>
          <a:ext cx="275156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MC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1" kern="1200" dirty="0"/>
            <a:t>5 to 10 years old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i="1" kern="1200" dirty="0"/>
            <a:t>5 cycles</a:t>
          </a:r>
          <a:endParaRPr lang="fr-CH" sz="2000" i="1" kern="1200" dirty="0"/>
        </a:p>
      </dsp:txBody>
      <dsp:txXfrm>
        <a:off x="2714712" y="1460377"/>
        <a:ext cx="2684793" cy="1073088"/>
      </dsp:txXfrm>
    </dsp:sp>
    <dsp:sp modelId="{4BE80DE4-C4D4-4EC8-9CAE-1DE3277119C2}">
      <dsp:nvSpPr>
        <dsp:cNvPr id="0" name=""/>
        <dsp:cNvSpPr/>
      </dsp:nvSpPr>
      <dsp:spPr>
        <a:xfrm>
          <a:off x="2321498" y="1142028"/>
          <a:ext cx="359828" cy="2279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79716"/>
              </a:lnTo>
              <a:lnTo>
                <a:pt x="359828" y="227971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66F2EC-70BE-43A7-AABC-E533BC90CF1A}">
      <dsp:nvSpPr>
        <dsp:cNvPr id="0" name=""/>
        <dsp:cNvSpPr/>
      </dsp:nvSpPr>
      <dsp:spPr>
        <a:xfrm>
          <a:off x="2681327" y="2851815"/>
          <a:ext cx="275156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MC</a:t>
          </a:r>
          <a:endParaRPr lang="fr-CH" sz="2000" kern="1200" dirty="0"/>
        </a:p>
      </dsp:txBody>
      <dsp:txXfrm>
        <a:off x="2714712" y="2885200"/>
        <a:ext cx="2684793" cy="1073088"/>
      </dsp:txXfrm>
    </dsp:sp>
    <dsp:sp modelId="{A49F056A-6E8A-4106-931C-BC11BC31BABC}">
      <dsp:nvSpPr>
        <dsp:cNvPr id="0" name=""/>
        <dsp:cNvSpPr/>
      </dsp:nvSpPr>
      <dsp:spPr>
        <a:xfrm>
          <a:off x="2321498" y="1142028"/>
          <a:ext cx="359828" cy="37045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04539"/>
              </a:lnTo>
              <a:lnTo>
                <a:pt x="359828" y="370453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B81390-1492-4FDB-BBAC-B1469C88246A}">
      <dsp:nvSpPr>
        <dsp:cNvPr id="0" name=""/>
        <dsp:cNvSpPr/>
      </dsp:nvSpPr>
      <dsp:spPr>
        <a:xfrm>
          <a:off x="2681327" y="4276638"/>
          <a:ext cx="275156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TS,S vaccine</a:t>
          </a:r>
          <a:endParaRPr lang="fr-CH" sz="2000" kern="1200" dirty="0"/>
        </a:p>
      </dsp:txBody>
      <dsp:txXfrm>
        <a:off x="2714712" y="4310023"/>
        <a:ext cx="2684793" cy="1073088"/>
      </dsp:txXfrm>
    </dsp:sp>
    <dsp:sp modelId="{8D313A11-15C1-40D2-9EA6-57BB2FB03399}">
      <dsp:nvSpPr>
        <dsp:cNvPr id="0" name=""/>
        <dsp:cNvSpPr/>
      </dsp:nvSpPr>
      <dsp:spPr>
        <a:xfrm>
          <a:off x="7053189" y="11140"/>
          <a:ext cx="3810797" cy="11398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>
              <a:solidFill>
                <a:srgbClr val="FFFFFF"/>
              </a:solidFill>
              <a:latin typeface="Arial"/>
              <a:ea typeface="+mn-ea"/>
              <a:cs typeface="+mn-cs"/>
            </a:rPr>
            <a:t>New products</a:t>
          </a:r>
          <a:endParaRPr lang="fr-CH" sz="3200" kern="1200" dirty="0">
            <a:solidFill>
              <a:srgbClr val="FFFFFF"/>
            </a:solidFill>
            <a:latin typeface="Arial"/>
            <a:ea typeface="+mn-ea"/>
            <a:cs typeface="+mn-cs"/>
          </a:endParaRPr>
        </a:p>
      </dsp:txBody>
      <dsp:txXfrm>
        <a:off x="7086574" y="44525"/>
        <a:ext cx="3744027" cy="1073088"/>
      </dsp:txXfrm>
    </dsp:sp>
    <dsp:sp modelId="{DF29DEE0-3784-42D7-9F63-0E57B6C1130F}">
      <dsp:nvSpPr>
        <dsp:cNvPr id="0" name=""/>
        <dsp:cNvSpPr/>
      </dsp:nvSpPr>
      <dsp:spPr>
        <a:xfrm>
          <a:off x="7434269" y="1150999"/>
          <a:ext cx="381184" cy="848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48088"/>
              </a:lnTo>
              <a:lnTo>
                <a:pt x="381184" y="84808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0C03F8-8542-47AD-84BC-55D72C12AC7C}">
      <dsp:nvSpPr>
        <dsp:cNvPr id="0" name=""/>
        <dsp:cNvSpPr/>
      </dsp:nvSpPr>
      <dsp:spPr>
        <a:xfrm>
          <a:off x="7815454" y="1429158"/>
          <a:ext cx="305664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RNA vaccine</a:t>
          </a:r>
          <a:endParaRPr lang="fr-CH" sz="2000" kern="1200" dirty="0"/>
        </a:p>
      </dsp:txBody>
      <dsp:txXfrm>
        <a:off x="7848839" y="1462543"/>
        <a:ext cx="2989873" cy="1073088"/>
      </dsp:txXfrm>
    </dsp:sp>
    <dsp:sp modelId="{1D2706CE-1683-431E-80C8-C6327A7FEE04}">
      <dsp:nvSpPr>
        <dsp:cNvPr id="0" name=""/>
        <dsp:cNvSpPr/>
      </dsp:nvSpPr>
      <dsp:spPr>
        <a:xfrm>
          <a:off x="7434269" y="1150999"/>
          <a:ext cx="381184" cy="22729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72911"/>
              </a:lnTo>
              <a:lnTo>
                <a:pt x="381184" y="22729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2AA9C6-37C6-48AE-9C40-863461BD3BE0}">
      <dsp:nvSpPr>
        <dsp:cNvPr id="0" name=""/>
        <dsp:cNvSpPr/>
      </dsp:nvSpPr>
      <dsp:spPr>
        <a:xfrm>
          <a:off x="7815454" y="2853981"/>
          <a:ext cx="305664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ong acting injectable (LAI)</a:t>
          </a:r>
        </a:p>
      </dsp:txBody>
      <dsp:txXfrm>
        <a:off x="7848839" y="2887366"/>
        <a:ext cx="2989873" cy="1073088"/>
      </dsp:txXfrm>
    </dsp:sp>
    <dsp:sp modelId="{79BA583E-D0F8-4288-90CC-9084FA5259AB}">
      <dsp:nvSpPr>
        <dsp:cNvPr id="0" name=""/>
        <dsp:cNvSpPr/>
      </dsp:nvSpPr>
      <dsp:spPr>
        <a:xfrm>
          <a:off x="7434269" y="1150999"/>
          <a:ext cx="381184" cy="3697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97734"/>
              </a:lnTo>
              <a:lnTo>
                <a:pt x="381184" y="369773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2DA2DB-9ABF-46B5-8778-BF3C7A7AFF5F}">
      <dsp:nvSpPr>
        <dsp:cNvPr id="0" name=""/>
        <dsp:cNvSpPr/>
      </dsp:nvSpPr>
      <dsp:spPr>
        <a:xfrm>
          <a:off x="7815454" y="4278804"/>
          <a:ext cx="3056643" cy="11398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onoclonal antibodies</a:t>
          </a:r>
        </a:p>
      </dsp:txBody>
      <dsp:txXfrm>
        <a:off x="7848839" y="4312189"/>
        <a:ext cx="2989873" cy="10730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C41E24-596D-4921-83B9-11A9AA9977C1}">
      <dsp:nvSpPr>
        <dsp:cNvPr id="0" name=""/>
        <dsp:cNvSpPr/>
      </dsp:nvSpPr>
      <dsp:spPr>
        <a:xfrm>
          <a:off x="946610" y="818354"/>
          <a:ext cx="8597831" cy="4443306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1BD863-09D4-4B3D-9A43-3182DCD50E38}">
      <dsp:nvSpPr>
        <dsp:cNvPr id="0" name=""/>
        <dsp:cNvSpPr/>
      </dsp:nvSpPr>
      <dsp:spPr>
        <a:xfrm>
          <a:off x="1203557" y="1338004"/>
          <a:ext cx="3992556" cy="38011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rust (trials)</a:t>
          </a:r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wareness</a:t>
          </a:r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upport (capacity building, financing)</a:t>
          </a:r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wnership (from NMCPs)</a:t>
          </a:r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fr-CH" sz="2000" kern="1200" dirty="0"/>
        </a:p>
      </dsp:txBody>
      <dsp:txXfrm>
        <a:off x="1203557" y="1338004"/>
        <a:ext cx="3992556" cy="3801194"/>
      </dsp:txXfrm>
    </dsp:sp>
    <dsp:sp modelId="{68CDABEB-F956-470D-950E-061C40EB6853}">
      <dsp:nvSpPr>
        <dsp:cNvPr id="0" name=""/>
        <dsp:cNvSpPr/>
      </dsp:nvSpPr>
      <dsp:spPr>
        <a:xfrm>
          <a:off x="5285056" y="1338004"/>
          <a:ext cx="3992556" cy="38011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olicy (lack of)</a:t>
          </a:r>
        </a:p>
        <a:p>
          <a:pPr marL="0" lvl="0" indent="0" algn="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ogistics (procurement)</a:t>
          </a:r>
        </a:p>
        <a:p>
          <a:pPr marL="0" lvl="0" indent="0" algn="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Finances (resource mobilization and allocation)</a:t>
          </a:r>
        </a:p>
        <a:p>
          <a:pPr marL="0" lvl="0" indent="0" algn="r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cceptance and adherence</a:t>
          </a:r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/>
        </a:p>
        <a:p>
          <a:pPr marL="0" lvl="0" indent="0" algn="l" defTabSz="8890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endParaRPr lang="fr-CH" sz="2000" kern="1200" dirty="0"/>
        </a:p>
      </dsp:txBody>
      <dsp:txXfrm>
        <a:off x="5285056" y="1338004"/>
        <a:ext cx="3992556" cy="3801194"/>
      </dsp:txXfrm>
    </dsp:sp>
    <dsp:sp modelId="{A6156352-3E32-441C-9D88-7F9DE44C65DA}">
      <dsp:nvSpPr>
        <dsp:cNvPr id="0" name=""/>
        <dsp:cNvSpPr/>
      </dsp:nvSpPr>
      <dsp:spPr>
        <a:xfrm>
          <a:off x="310663" y="157005"/>
          <a:ext cx="1173068" cy="1224326"/>
        </a:xfrm>
        <a:prstGeom prst="plus">
          <a:avLst>
            <a:gd name="adj" fmla="val 328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2C363A-B544-493E-9994-24847BBB5601}">
      <dsp:nvSpPr>
        <dsp:cNvPr id="0" name=""/>
        <dsp:cNvSpPr/>
      </dsp:nvSpPr>
      <dsp:spPr>
        <a:xfrm>
          <a:off x="8471337" y="570954"/>
          <a:ext cx="1355603" cy="46662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D09EEE-AB18-491D-A6C4-98E2BE014FEA}">
      <dsp:nvSpPr>
        <dsp:cNvPr id="0" name=""/>
        <dsp:cNvSpPr/>
      </dsp:nvSpPr>
      <dsp:spPr>
        <a:xfrm>
          <a:off x="5245526" y="1346132"/>
          <a:ext cx="988" cy="3630506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14A85F-791E-4A3D-9CC3-902F8E0E2737}">
      <dsp:nvSpPr>
        <dsp:cNvPr id="0" name=""/>
        <dsp:cNvSpPr/>
      </dsp:nvSpPr>
      <dsp:spPr>
        <a:xfrm>
          <a:off x="1795" y="1118182"/>
          <a:ext cx="5290829" cy="622450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942E77-5925-449A-B1BD-5BE0355FD352}">
      <dsp:nvSpPr>
        <dsp:cNvPr id="0" name=""/>
        <dsp:cNvSpPr/>
      </dsp:nvSpPr>
      <dsp:spPr>
        <a:xfrm>
          <a:off x="1795" y="1351949"/>
          <a:ext cx="388683" cy="38868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E95340-5B83-4886-80B1-A8F66C8FEBAB}">
      <dsp:nvSpPr>
        <dsp:cNvPr id="0" name=""/>
        <dsp:cNvSpPr/>
      </dsp:nvSpPr>
      <dsp:spPr>
        <a:xfrm>
          <a:off x="0" y="0"/>
          <a:ext cx="5290829" cy="111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Expected drivers</a:t>
          </a:r>
          <a:endParaRPr lang="fr-CH" sz="2800" kern="1200" dirty="0"/>
        </a:p>
      </dsp:txBody>
      <dsp:txXfrm>
        <a:off x="0" y="0"/>
        <a:ext cx="5290829" cy="1118182"/>
      </dsp:txXfrm>
    </dsp:sp>
    <dsp:sp modelId="{4FC1BECF-D772-44C0-A5CC-080569E46FC8}">
      <dsp:nvSpPr>
        <dsp:cNvPr id="0" name=""/>
        <dsp:cNvSpPr/>
      </dsp:nvSpPr>
      <dsp:spPr>
        <a:xfrm>
          <a:off x="1795" y="2257959"/>
          <a:ext cx="388673" cy="3886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2F0B97-468F-4487-B1C3-D1FDC3F17C74}">
      <dsp:nvSpPr>
        <dsp:cNvPr id="0" name=""/>
        <dsp:cNvSpPr/>
      </dsp:nvSpPr>
      <dsp:spPr>
        <a:xfrm>
          <a:off x="372153" y="1999296"/>
          <a:ext cx="4920471" cy="90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Building on existing EPI programs.</a:t>
          </a:r>
          <a:endParaRPr lang="fr-CH" sz="1800" kern="1200" dirty="0"/>
        </a:p>
      </dsp:txBody>
      <dsp:txXfrm>
        <a:off x="372153" y="1999296"/>
        <a:ext cx="4920471" cy="905999"/>
      </dsp:txXfrm>
    </dsp:sp>
    <dsp:sp modelId="{AFBCB24F-B421-440B-AC91-D955020B40DB}">
      <dsp:nvSpPr>
        <dsp:cNvPr id="0" name=""/>
        <dsp:cNvSpPr/>
      </dsp:nvSpPr>
      <dsp:spPr>
        <a:xfrm>
          <a:off x="1795" y="3163958"/>
          <a:ext cx="388673" cy="3886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406BD3-B702-4512-8871-310A3B4081EF}">
      <dsp:nvSpPr>
        <dsp:cNvPr id="0" name=""/>
        <dsp:cNvSpPr/>
      </dsp:nvSpPr>
      <dsp:spPr>
        <a:xfrm>
          <a:off x="372153" y="2905295"/>
          <a:ext cx="4920471" cy="90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troduction in districts not eligible to SMC.</a:t>
          </a:r>
          <a:endParaRPr lang="fr-CH" sz="1800" kern="1200" dirty="0"/>
        </a:p>
      </dsp:txBody>
      <dsp:txXfrm>
        <a:off x="372153" y="2905295"/>
        <a:ext cx="4920471" cy="905999"/>
      </dsp:txXfrm>
    </dsp:sp>
    <dsp:sp modelId="{F1AFEEEF-BC0C-4174-A1D1-CBC877399387}">
      <dsp:nvSpPr>
        <dsp:cNvPr id="0" name=""/>
        <dsp:cNvSpPr/>
      </dsp:nvSpPr>
      <dsp:spPr>
        <a:xfrm>
          <a:off x="5557166" y="1118182"/>
          <a:ext cx="5290829" cy="622450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9F6D26-12D3-435B-B987-C85A65EDDAE7}">
      <dsp:nvSpPr>
        <dsp:cNvPr id="0" name=""/>
        <dsp:cNvSpPr/>
      </dsp:nvSpPr>
      <dsp:spPr>
        <a:xfrm>
          <a:off x="5557166" y="1351949"/>
          <a:ext cx="388683" cy="38868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D18728-AF72-4DE6-BAF9-990F0E9F15BD}">
      <dsp:nvSpPr>
        <dsp:cNvPr id="0" name=""/>
        <dsp:cNvSpPr/>
      </dsp:nvSpPr>
      <dsp:spPr>
        <a:xfrm>
          <a:off x="5557166" y="0"/>
          <a:ext cx="5290829" cy="1118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Expected barriers</a:t>
          </a:r>
          <a:endParaRPr lang="fr-CH" sz="2800" kern="1200" dirty="0"/>
        </a:p>
      </dsp:txBody>
      <dsp:txXfrm>
        <a:off x="5557166" y="0"/>
        <a:ext cx="5290829" cy="1118182"/>
      </dsp:txXfrm>
    </dsp:sp>
    <dsp:sp modelId="{09925E73-83A1-4804-8BC5-865B1A2F0941}">
      <dsp:nvSpPr>
        <dsp:cNvPr id="0" name=""/>
        <dsp:cNvSpPr/>
      </dsp:nvSpPr>
      <dsp:spPr>
        <a:xfrm>
          <a:off x="5557166" y="2257959"/>
          <a:ext cx="388673" cy="3886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6A702B-346E-4F78-B7CB-CD4C96889F6B}">
      <dsp:nvSpPr>
        <dsp:cNvPr id="0" name=""/>
        <dsp:cNvSpPr/>
      </dsp:nvSpPr>
      <dsp:spPr>
        <a:xfrm>
          <a:off x="5927524" y="1999296"/>
          <a:ext cx="4920471" cy="90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sufficient evidence, especially safety of SP in infants, and concerns about emergence of resistance.</a:t>
          </a:r>
          <a:endParaRPr lang="fr-CH" sz="1800" kern="1200" dirty="0"/>
        </a:p>
      </dsp:txBody>
      <dsp:txXfrm>
        <a:off x="5927524" y="1999296"/>
        <a:ext cx="4920471" cy="905999"/>
      </dsp:txXfrm>
    </dsp:sp>
    <dsp:sp modelId="{5FCD4303-ADDB-49E3-8A0A-A7F582EA1DD5}">
      <dsp:nvSpPr>
        <dsp:cNvPr id="0" name=""/>
        <dsp:cNvSpPr/>
      </dsp:nvSpPr>
      <dsp:spPr>
        <a:xfrm>
          <a:off x="5557166" y="3163958"/>
          <a:ext cx="388673" cy="3886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3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752A9C-305B-4784-958D-E748E67301E2}">
      <dsp:nvSpPr>
        <dsp:cNvPr id="0" name=""/>
        <dsp:cNvSpPr/>
      </dsp:nvSpPr>
      <dsp:spPr>
        <a:xfrm>
          <a:off x="5927524" y="2905295"/>
          <a:ext cx="4920471" cy="90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ack of involvement of key stakeholders, and delays in inclusion in guidelines</a:t>
          </a:r>
          <a:endParaRPr lang="fr-CH" sz="1800" kern="1200" dirty="0"/>
        </a:p>
      </dsp:txBody>
      <dsp:txXfrm>
        <a:off x="5927524" y="2905295"/>
        <a:ext cx="4920471" cy="905999"/>
      </dsp:txXfrm>
    </dsp:sp>
    <dsp:sp modelId="{9A850FCB-1578-48FB-8C42-39C55D2500DD}">
      <dsp:nvSpPr>
        <dsp:cNvPr id="0" name=""/>
        <dsp:cNvSpPr/>
      </dsp:nvSpPr>
      <dsp:spPr>
        <a:xfrm>
          <a:off x="5557166" y="4069958"/>
          <a:ext cx="388673" cy="38867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7782AE-CFC4-4DA5-862D-CC46E2BA0D19}">
      <dsp:nvSpPr>
        <dsp:cNvPr id="0" name=""/>
        <dsp:cNvSpPr/>
      </dsp:nvSpPr>
      <dsp:spPr>
        <a:xfrm>
          <a:off x="5927524" y="3811295"/>
          <a:ext cx="4920471" cy="90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mpeting issues such as Covid 19 diverting resources</a:t>
          </a:r>
        </a:p>
      </dsp:txBody>
      <dsp:txXfrm>
        <a:off x="5927524" y="3811295"/>
        <a:ext cx="4920471" cy="9059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14A85F-791E-4A3D-9CC3-902F8E0E2737}">
      <dsp:nvSpPr>
        <dsp:cNvPr id="0" name=""/>
        <dsp:cNvSpPr/>
      </dsp:nvSpPr>
      <dsp:spPr>
        <a:xfrm>
          <a:off x="10349" y="1116419"/>
          <a:ext cx="5282484" cy="621468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942E77-5925-449A-B1BD-5BE0355FD352}">
      <dsp:nvSpPr>
        <dsp:cNvPr id="0" name=""/>
        <dsp:cNvSpPr/>
      </dsp:nvSpPr>
      <dsp:spPr>
        <a:xfrm>
          <a:off x="10349" y="1349817"/>
          <a:ext cx="388070" cy="3880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E95340-5B83-4886-80B1-A8F66C8FEBAB}">
      <dsp:nvSpPr>
        <dsp:cNvPr id="0" name=""/>
        <dsp:cNvSpPr/>
      </dsp:nvSpPr>
      <dsp:spPr>
        <a:xfrm>
          <a:off x="0" y="0"/>
          <a:ext cx="5282484" cy="11164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Drivers</a:t>
          </a:r>
          <a:endParaRPr lang="fr-CH" sz="2800" kern="1200" dirty="0"/>
        </a:p>
      </dsp:txBody>
      <dsp:txXfrm>
        <a:off x="0" y="0"/>
        <a:ext cx="5282484" cy="1116419"/>
      </dsp:txXfrm>
    </dsp:sp>
    <dsp:sp modelId="{4FC1BECF-D772-44C0-A5CC-080569E46FC8}">
      <dsp:nvSpPr>
        <dsp:cNvPr id="0" name=""/>
        <dsp:cNvSpPr/>
      </dsp:nvSpPr>
      <dsp:spPr>
        <a:xfrm>
          <a:off x="10349" y="2254397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2F0B97-468F-4487-B1C3-D1FDC3F17C74}">
      <dsp:nvSpPr>
        <dsp:cNvPr id="0" name=""/>
        <dsp:cNvSpPr/>
      </dsp:nvSpPr>
      <dsp:spPr>
        <a:xfrm>
          <a:off x="380123" y="1996142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volvement in pilot and WHO endorsement</a:t>
          </a:r>
          <a:endParaRPr lang="fr-CH" sz="1800" kern="1200" dirty="0"/>
        </a:p>
      </dsp:txBody>
      <dsp:txXfrm>
        <a:off x="380123" y="1996142"/>
        <a:ext cx="4912710" cy="904570"/>
      </dsp:txXfrm>
    </dsp:sp>
    <dsp:sp modelId="{AFBCB24F-B421-440B-AC91-D955020B40DB}">
      <dsp:nvSpPr>
        <dsp:cNvPr id="0" name=""/>
        <dsp:cNvSpPr/>
      </dsp:nvSpPr>
      <dsp:spPr>
        <a:xfrm>
          <a:off x="10349" y="3158968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5714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406BD3-B702-4512-8871-310A3B4081EF}">
      <dsp:nvSpPr>
        <dsp:cNvPr id="0" name=""/>
        <dsp:cNvSpPr/>
      </dsp:nvSpPr>
      <dsp:spPr>
        <a:xfrm>
          <a:off x="380123" y="2900713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Building on past experience: immunization campaigns, existing infrastructures</a:t>
          </a:r>
          <a:endParaRPr lang="fr-CH" sz="1800" kern="1200" dirty="0"/>
        </a:p>
      </dsp:txBody>
      <dsp:txXfrm>
        <a:off x="380123" y="2900713"/>
        <a:ext cx="4912710" cy="904570"/>
      </dsp:txXfrm>
    </dsp:sp>
    <dsp:sp modelId="{4DA15D16-71AF-4289-8435-A8EC05940F14}">
      <dsp:nvSpPr>
        <dsp:cNvPr id="0" name=""/>
        <dsp:cNvSpPr/>
      </dsp:nvSpPr>
      <dsp:spPr>
        <a:xfrm>
          <a:off x="10349" y="4063539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11429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A866B2-1F9B-4881-85F4-7DB41645FCBC}">
      <dsp:nvSpPr>
        <dsp:cNvPr id="0" name=""/>
        <dsp:cNvSpPr/>
      </dsp:nvSpPr>
      <dsp:spPr>
        <a:xfrm>
          <a:off x="380123" y="3805284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ree access at public health facilities</a:t>
          </a:r>
          <a:endParaRPr lang="fr-CH" sz="1800" kern="1200" dirty="0"/>
        </a:p>
      </dsp:txBody>
      <dsp:txXfrm>
        <a:off x="380123" y="3805284"/>
        <a:ext cx="4912710" cy="904570"/>
      </dsp:txXfrm>
    </dsp:sp>
    <dsp:sp modelId="{3CF3C2CA-3D69-4FAD-AD9D-5D9BCC85353B}">
      <dsp:nvSpPr>
        <dsp:cNvPr id="0" name=""/>
        <dsp:cNvSpPr/>
      </dsp:nvSpPr>
      <dsp:spPr>
        <a:xfrm>
          <a:off x="10349" y="4968109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17143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3563F4-7E5C-4983-8266-31FEB4C76E3E}">
      <dsp:nvSpPr>
        <dsp:cNvPr id="0" name=""/>
        <dsp:cNvSpPr/>
      </dsp:nvSpPr>
      <dsp:spPr>
        <a:xfrm>
          <a:off x="380123" y="4709854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mmunity engagement</a:t>
          </a:r>
          <a:endParaRPr lang="fr-CH" sz="1800" kern="1200" dirty="0"/>
        </a:p>
      </dsp:txBody>
      <dsp:txXfrm>
        <a:off x="380123" y="4709854"/>
        <a:ext cx="4912710" cy="904570"/>
      </dsp:txXfrm>
    </dsp:sp>
    <dsp:sp modelId="{F1AFEEEF-BC0C-4174-A1D1-CBC877399387}">
      <dsp:nvSpPr>
        <dsp:cNvPr id="0" name=""/>
        <dsp:cNvSpPr/>
      </dsp:nvSpPr>
      <dsp:spPr>
        <a:xfrm>
          <a:off x="5556957" y="1116419"/>
          <a:ext cx="5282484" cy="621468"/>
        </a:xfrm>
        <a:prstGeom prst="re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9F6D26-12D3-435B-B987-C85A65EDDAE7}">
      <dsp:nvSpPr>
        <dsp:cNvPr id="0" name=""/>
        <dsp:cNvSpPr/>
      </dsp:nvSpPr>
      <dsp:spPr>
        <a:xfrm>
          <a:off x="5556957" y="1349817"/>
          <a:ext cx="388070" cy="38807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D18728-AF72-4DE6-BAF9-990F0E9F15BD}">
      <dsp:nvSpPr>
        <dsp:cNvPr id="0" name=""/>
        <dsp:cNvSpPr/>
      </dsp:nvSpPr>
      <dsp:spPr>
        <a:xfrm>
          <a:off x="5556957" y="0"/>
          <a:ext cx="5282484" cy="11164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Barriers</a:t>
          </a:r>
          <a:endParaRPr lang="fr-CH" sz="3200" kern="1200" dirty="0"/>
        </a:p>
      </dsp:txBody>
      <dsp:txXfrm>
        <a:off x="5556957" y="0"/>
        <a:ext cx="5282484" cy="1116419"/>
      </dsp:txXfrm>
    </dsp:sp>
    <dsp:sp modelId="{09925E73-83A1-4804-8BC5-865B1A2F0941}">
      <dsp:nvSpPr>
        <dsp:cNvPr id="0" name=""/>
        <dsp:cNvSpPr/>
      </dsp:nvSpPr>
      <dsp:spPr>
        <a:xfrm>
          <a:off x="5556957" y="2254397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22857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6A702B-346E-4F78-B7CB-CD4C96889F6B}">
      <dsp:nvSpPr>
        <dsp:cNvPr id="0" name=""/>
        <dsp:cNvSpPr/>
      </dsp:nvSpPr>
      <dsp:spPr>
        <a:xfrm>
          <a:off x="5926731" y="1996142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4</a:t>
          </a:r>
          <a:r>
            <a:rPr lang="en-US" sz="1800" kern="1200" baseline="30000" dirty="0"/>
            <a:t>th</a:t>
          </a:r>
          <a:r>
            <a:rPr lang="en-US" sz="1800" kern="1200" dirty="0"/>
            <a:t> doses is challenging as it doesn’t fit with current vaccination schedules.</a:t>
          </a:r>
          <a:endParaRPr lang="fr-CH" sz="1800" kern="1200" dirty="0"/>
        </a:p>
      </dsp:txBody>
      <dsp:txXfrm>
        <a:off x="5926731" y="1996142"/>
        <a:ext cx="4912710" cy="904570"/>
      </dsp:txXfrm>
    </dsp:sp>
    <dsp:sp modelId="{5FCD4303-ADDB-49E3-8A0A-A7F582EA1DD5}">
      <dsp:nvSpPr>
        <dsp:cNvPr id="0" name=""/>
        <dsp:cNvSpPr/>
      </dsp:nvSpPr>
      <dsp:spPr>
        <a:xfrm>
          <a:off x="5556957" y="3158968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28571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752A9C-305B-4784-958D-E748E67301E2}">
      <dsp:nvSpPr>
        <dsp:cNvPr id="0" name=""/>
        <dsp:cNvSpPr/>
      </dsp:nvSpPr>
      <dsp:spPr>
        <a:xfrm>
          <a:off x="5926731" y="2900713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Hesitancy</a:t>
          </a:r>
          <a:endParaRPr lang="fr-CH" sz="1800" kern="1200" dirty="0"/>
        </a:p>
      </dsp:txBody>
      <dsp:txXfrm>
        <a:off x="5926731" y="2900713"/>
        <a:ext cx="4912710" cy="904570"/>
      </dsp:txXfrm>
    </dsp:sp>
    <dsp:sp modelId="{9A850FCB-1578-48FB-8C42-39C55D2500DD}">
      <dsp:nvSpPr>
        <dsp:cNvPr id="0" name=""/>
        <dsp:cNvSpPr/>
      </dsp:nvSpPr>
      <dsp:spPr>
        <a:xfrm>
          <a:off x="5556957" y="4063539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34286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7782AE-CFC4-4DA5-862D-CC46E2BA0D19}">
      <dsp:nvSpPr>
        <dsp:cNvPr id="0" name=""/>
        <dsp:cNvSpPr/>
      </dsp:nvSpPr>
      <dsp:spPr>
        <a:xfrm>
          <a:off x="5926731" y="3805284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direct cost (transportation)</a:t>
          </a:r>
        </a:p>
      </dsp:txBody>
      <dsp:txXfrm>
        <a:off x="5926731" y="3805284"/>
        <a:ext cx="4912710" cy="904570"/>
      </dsp:txXfrm>
    </dsp:sp>
    <dsp:sp modelId="{F959CF80-F484-4C34-B0E6-2B389FCC629D}">
      <dsp:nvSpPr>
        <dsp:cNvPr id="0" name=""/>
        <dsp:cNvSpPr/>
      </dsp:nvSpPr>
      <dsp:spPr>
        <a:xfrm>
          <a:off x="5556957" y="4968109"/>
          <a:ext cx="388060" cy="38806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E64D3F-8733-475B-B21D-163D3CA3C67C}">
      <dsp:nvSpPr>
        <dsp:cNvPr id="0" name=""/>
        <dsp:cNvSpPr/>
      </dsp:nvSpPr>
      <dsp:spPr>
        <a:xfrm>
          <a:off x="5926731" y="4709854"/>
          <a:ext cx="4912710" cy="904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apacity building and competing budget (Covid-19)</a:t>
          </a:r>
        </a:p>
      </dsp:txBody>
      <dsp:txXfrm>
        <a:off x="5926731" y="4709854"/>
        <a:ext cx="4912710" cy="9045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PlusandMinus">
  <dgm:title val=""/>
  <dgm:desc val=""/>
  <dgm:catLst>
    <dgm:cat type="relationship" pri="36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2"/>
      <dgm:chPref val="2"/>
      <dgm:dir/>
      <dgm:animOne/>
      <dgm:resizeHandles val="exact"/>
    </dgm:varLst>
    <dgm:alg type="composite">
      <dgm:param type="ar" val="1.8238"/>
    </dgm:alg>
    <dgm:shape xmlns:r="http://schemas.openxmlformats.org/officeDocument/2006/relationships" r:blip="">
      <dgm:adjLst/>
    </dgm:shape>
    <dgm:choose name="Name1">
      <dgm:if name="Name2" func="var" arg="dir" op="equ" val="norm">
        <dgm:constrLst>
          <dgm:constr type="primFontSz" for="des" ptType="node" op="equ" val="65"/>
          <dgm:constr type="l" for="ch" forName="Background" refType="w" fact="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l" for="ch" forName="ParentText1" refType="w" fact="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l" for="ch" forName="ParentText2" refType="w" fact="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l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l" for="ch" forName="Minus" refType="w" fact="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l" for="ch" forName="Divider" refType="w" fact="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if>
      <dgm:else name="Name3">
        <dgm:constrLst>
          <dgm:constr type="primFontSz" for="des" ptType="node" op="equ" val="65"/>
          <dgm:constr type="r" for="ch" forName="Background" refType="w" fact="-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r" for="ch" forName="ParentText1" refType="w" fact="-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r" for="ch" forName="ParentText2" refType="w" fact="-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r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r" for="ch" forName="Minus" refType="w" fact="-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r" for="ch" forName="Divider" refType="w" fact="-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else>
    </dgm:choose>
    <dgm:layoutNode name="Background" styleLbl="bgImgPlace1">
      <dgm:alg type="sp"/>
      <dgm:shape xmlns:r="http://schemas.openxmlformats.org/officeDocument/2006/relationships" type="rect" r:blip="">
        <dgm:adjLst/>
      </dgm:shape>
      <dgm:presOf/>
    </dgm:layoutNode>
    <dgm:layoutNode name="ParentText1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1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arentText2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2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lus" styleLbl="alignNode1">
      <dgm:alg type="sp"/>
      <dgm:shape xmlns:r="http://schemas.openxmlformats.org/officeDocument/2006/relationships" type="plus" r:blip="">
        <dgm:adjLst>
          <dgm:adj idx="1" val="0.3281"/>
        </dgm:adjLst>
      </dgm:shape>
      <dgm:presOf/>
    </dgm:layoutNode>
    <dgm:layoutNode name="Minus" styleLbl="alignNode1">
      <dgm:alg type="sp"/>
      <dgm:shape xmlns:r="http://schemas.openxmlformats.org/officeDocument/2006/relationships" type="rect" r:blip="">
        <dgm:adjLst/>
      </dgm:shape>
      <dgm:presOf/>
    </dgm:layoutNode>
    <dgm:layoutNode name="Divider" styleLbl="parChTrans1D1">
      <dgm:alg type="sp"/>
      <dgm:shape xmlns:r="http://schemas.openxmlformats.org/officeDocument/2006/relationships" type="line" r:blip="">
        <dgm:adjLst/>
      </dgm:shape>
      <dgm:presOf/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3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2326" indent="-28166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26655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77317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27979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78641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9303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9965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0627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15212E8B-A4EC-412D-8B9B-2DB6F4206A75}" type="slidenum">
              <a:rPr lang="fr-FR" altLang="en-US">
                <a:solidFill>
                  <a:prstClr val="black"/>
                </a:solidFill>
              </a:rPr>
              <a:pPr/>
              <a:t>1</a:t>
            </a:fld>
            <a:endParaRPr lang="fr-F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79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1" descr="img_coverAR2017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3" y="-1010867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"/>
          <p:cNvSpPr>
            <a:spLocks/>
          </p:cNvSpPr>
          <p:nvPr/>
        </p:nvSpPr>
        <p:spPr bwMode="auto">
          <a:xfrm>
            <a:off x="-22627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/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50" dirty="0"/>
              <a:t>    </a:t>
            </a:r>
          </a:p>
        </p:txBody>
      </p:sp>
      <p:pic>
        <p:nvPicPr>
          <p:cNvPr id="19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9" y="5894476"/>
            <a:ext cx="2760687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18644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1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8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D113230E-D360-60F9-1914-1ABDB05A6D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441" y="2421750"/>
            <a:ext cx="4318552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SMC Alliance Annual Meeting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Feb 28 to Mar 02, 2023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onakry, Guinea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endParaRPr lang="en-GB" altLang="en-US" sz="2000" b="0" dirty="0">
              <a:solidFill>
                <a:prstClr val="white"/>
              </a:solidFill>
            </a:endParaRP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éline Audibert</a:t>
            </a:r>
          </a:p>
          <a:p>
            <a:pPr defTabSz="685800">
              <a:buClr>
                <a:srgbClr val="B30076"/>
              </a:buClr>
              <a:buNone/>
            </a:pPr>
            <a:r>
              <a:rPr lang="en-GB" altLang="en-US" sz="2000" dirty="0">
                <a:solidFill>
                  <a:schemeClr val="bg1"/>
                </a:solidFill>
              </a:rPr>
              <a:t>Director market research, APM</a:t>
            </a:r>
          </a:p>
        </p:txBody>
      </p:sp>
      <p:sp>
        <p:nvSpPr>
          <p:cNvPr id="9218" name="ZoneTexte 1"/>
          <p:cNvSpPr txBox="1">
            <a:spLocks noChangeArrowheads="1"/>
          </p:cNvSpPr>
          <p:nvPr/>
        </p:nvSpPr>
        <p:spPr bwMode="auto">
          <a:xfrm>
            <a:off x="438162" y="725530"/>
            <a:ext cx="4295831" cy="13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4" tIns="45717" rIns="91434" bIns="45717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r>
              <a:rPr lang="en-GB" altLang="en-US" sz="2800" dirty="0">
                <a:solidFill>
                  <a:schemeClr val="bg1"/>
                </a:solidFill>
              </a:rPr>
              <a:t>Perspective on malaria prevention tools in children in SSA</a:t>
            </a:r>
            <a:endParaRPr lang="en-US" altLang="en-US" sz="2800" dirty="0"/>
          </a:p>
        </p:txBody>
      </p:sp>
      <p:sp>
        <p:nvSpPr>
          <p:cNvPr id="9221" name="Sous-titre 2"/>
          <p:cNvSpPr txBox="1">
            <a:spLocks/>
          </p:cNvSpPr>
          <p:nvPr/>
        </p:nvSpPr>
        <p:spPr bwMode="auto">
          <a:xfrm>
            <a:off x="262105" y="6380171"/>
            <a:ext cx="39687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defTabSz="457170" fontAlgn="base">
              <a:spcAft>
                <a:spcPct val="0"/>
              </a:spcAft>
              <a:buNone/>
            </a:pPr>
            <a:r>
              <a:rPr lang="en-GB" altLang="en-US" sz="2000" dirty="0">
                <a:solidFill>
                  <a:srgbClr val="A7005F"/>
                </a:solidFill>
              </a:rPr>
              <a:t>Defeating Malaria Together</a:t>
            </a:r>
          </a:p>
        </p:txBody>
      </p:sp>
    </p:spTree>
    <p:extLst>
      <p:ext uri="{BB962C8B-B14F-4D97-AF65-F5344CB8AC3E}">
        <p14:creationId xmlns:p14="http://schemas.microsoft.com/office/powerpoint/2010/main" val="1114580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10318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Preferences, integration and complementarity of malaria prevention program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7" y="1082351"/>
            <a:ext cx="10837553" cy="5031465"/>
          </a:xfrm>
        </p:spPr>
        <p:txBody>
          <a:bodyPr/>
          <a:lstStyle/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SMC and RTS,S vaccine are the most appealing interventions in countries where no malaria prevention programs are in place yet.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Appeal for PMC reside on the fact that it is independent of seasonal variations, and it can be administered all year round through multiple platforms and channels.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A “watch and wait” position about LAI and </a:t>
            </a:r>
            <a:r>
              <a:rPr lang="en-US" sz="2000" dirty="0" err="1"/>
              <a:t>mAb</a:t>
            </a:r>
            <a:r>
              <a:rPr lang="en-US" sz="2000" dirty="0"/>
              <a:t> reduces the appeal for these interventions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Integration of malaria prevention interventions requires to enhance domestic funding and the capacity of healthcare workers.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Existing infrastructure can be leveraged but requires proper training of healthcare professional and raising awareness of population on the benefit of the interventions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Cost-benefits need to be addressed, taking into account direct and indirect costs (like transportation to healthcare facility)</a:t>
            </a:r>
          </a:p>
          <a:p>
            <a:pPr>
              <a:buSzPct val="100000"/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SzPct val="100000"/>
              <a:buFont typeface="Arial" panose="020B0604020202020204" pitchFamily="34" charset="0"/>
              <a:buChar char="•"/>
            </a:pPr>
            <a:r>
              <a:rPr lang="en-US" sz="2000" dirty="0"/>
              <a:t>Which intervention to use at what age remains a key question, and evidence need to be collected to guide prioritization of intervention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C13BE2-C539-706F-2B47-7D7CD2B48C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4023" y="6419458"/>
            <a:ext cx="1600714" cy="344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904513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!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79733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CCE6F45B-FA97-B9FE-9AF9-04C69137C9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212703"/>
              </p:ext>
            </p:extLst>
          </p:nvPr>
        </p:nvGraphicFramePr>
        <p:xfrm>
          <a:off x="-442256" y="1221688"/>
          <a:ext cx="1191035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2D58FE26-9026-481D-A258-0B3E5FDD78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Future malaria chemoprevention landscap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CADE6C-F8AF-4052-BC09-DD653A94A57F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039834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Key ques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hought Bubble: Cloud 2">
            <a:extLst>
              <a:ext uri="{FF2B5EF4-FFF2-40B4-BE49-F238E27FC236}">
                <a16:creationId xmlns:a16="http://schemas.microsoft.com/office/drawing/2014/main" id="{2311E88B-4AD9-855C-DD56-0EA8795C3973}"/>
              </a:ext>
            </a:extLst>
          </p:cNvPr>
          <p:cNvSpPr/>
          <p:nvPr/>
        </p:nvSpPr>
        <p:spPr>
          <a:xfrm>
            <a:off x="1943100" y="1100667"/>
            <a:ext cx="8305799" cy="4106334"/>
          </a:xfrm>
          <a:prstGeom prst="cloud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Which intervention(s) and products to administer when, where and to whom? 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95601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Market research method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6" y="931566"/>
            <a:ext cx="10837554" cy="4687729"/>
          </a:xfrm>
        </p:spPr>
        <p:txBody>
          <a:bodyPr/>
          <a:lstStyle/>
          <a:p>
            <a:r>
              <a:rPr lang="en-US" sz="1800" dirty="0"/>
              <a:t>60 qualitative interviews with local central level respondents: NMCPs, local academic researchers, funding partners, and policy makers were conducted in Q2 and Q3 2022 by MMV’s partner, APHRC.</a:t>
            </a:r>
          </a:p>
          <a:p>
            <a:endParaRPr lang="en-US" sz="1800" dirty="0"/>
          </a:p>
          <a:p>
            <a:r>
              <a:rPr lang="en-US" sz="1800" dirty="0"/>
              <a:t>Study countries were selected to offer a mix of malaria burden and type of malaria prevention program already implemented.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pPr marL="0" indent="0">
              <a:buNone/>
            </a:pPr>
            <a:r>
              <a:rPr lang="en-US" sz="1400" i="1" dirty="0">
                <a:solidFill>
                  <a:schemeClr val="tx1"/>
                </a:solidFill>
              </a:rPr>
              <a:t>*: SMC is extended to the 5 to 10 years old children in Senegal</a:t>
            </a:r>
            <a:endParaRPr lang="en-US" sz="1200" i="1" dirty="0">
              <a:solidFill>
                <a:schemeClr val="tx1"/>
              </a:solidFill>
            </a:endParaRPr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EF1A5438-A850-FC0D-2696-65591D8B26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968589"/>
              </p:ext>
            </p:extLst>
          </p:nvPr>
        </p:nvGraphicFramePr>
        <p:xfrm>
          <a:off x="1015483" y="2618639"/>
          <a:ext cx="9770705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6831">
                  <a:extLst>
                    <a:ext uri="{9D8B030D-6E8A-4147-A177-3AD203B41FA5}">
                      <a16:colId xmlns:a16="http://schemas.microsoft.com/office/drawing/2014/main" val="844564945"/>
                    </a:ext>
                  </a:extLst>
                </a:gridCol>
                <a:gridCol w="1987421">
                  <a:extLst>
                    <a:ext uri="{9D8B030D-6E8A-4147-A177-3AD203B41FA5}">
                      <a16:colId xmlns:a16="http://schemas.microsoft.com/office/drawing/2014/main" val="1591268081"/>
                    </a:ext>
                  </a:extLst>
                </a:gridCol>
                <a:gridCol w="2043404">
                  <a:extLst>
                    <a:ext uri="{9D8B030D-6E8A-4147-A177-3AD203B41FA5}">
                      <a16:colId xmlns:a16="http://schemas.microsoft.com/office/drawing/2014/main" val="2042951134"/>
                    </a:ext>
                  </a:extLst>
                </a:gridCol>
                <a:gridCol w="2491273">
                  <a:extLst>
                    <a:ext uri="{9D8B030D-6E8A-4147-A177-3AD203B41FA5}">
                      <a16:colId xmlns:a16="http://schemas.microsoft.com/office/drawing/2014/main" val="892593949"/>
                    </a:ext>
                  </a:extLst>
                </a:gridCol>
                <a:gridCol w="1531776">
                  <a:extLst>
                    <a:ext uri="{9D8B030D-6E8A-4147-A177-3AD203B41FA5}">
                      <a16:colId xmlns:a16="http://schemas.microsoft.com/office/drawing/2014/main" val="36359198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untry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laria burde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MC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MC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ccine</a:t>
                      </a:r>
                      <a:endParaRPr lang="fr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448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meroo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Burde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ilot ongoing</a:t>
                      </a:r>
                      <a:endParaRPr lang="fr-CH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789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C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Burde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0404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hana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dium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3454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Kenya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dium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564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li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Burde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2651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igeria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Burden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</a:t>
                      </a:r>
                      <a:endParaRPr lang="fr-CH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ilot ongoing</a:t>
                      </a:r>
                      <a:endParaRPr lang="fr-CH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1650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negal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dium</a:t>
                      </a:r>
                      <a:endParaRPr lang="fr-C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s* 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ilot terminated</a:t>
                      </a:r>
                      <a:endParaRPr lang="fr-CH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</a:t>
                      </a:r>
                      <a:endParaRPr lang="fr-CH" dirty="0"/>
                    </a:p>
                  </a:txBody>
                  <a:tcPr>
                    <a:solidFill>
                      <a:srgbClr val="FF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110329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9FBB638-E017-D581-0BBB-D8E3B9E9E6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9956" y="104860"/>
            <a:ext cx="2265714" cy="4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88687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opics discuss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7" y="1082351"/>
            <a:ext cx="10837553" cy="5031465"/>
          </a:xfrm>
        </p:spPr>
        <p:txBody>
          <a:bodyPr/>
          <a:lstStyle/>
          <a:p>
            <a:pPr marL="342900" lvl="1" indent="-342900" algn="l">
              <a:lnSpc>
                <a:spcPct val="120000"/>
              </a:lnSpc>
              <a:buFont typeface="Wingdings" panose="05000000000000000000" pitchFamily="2" charset="2"/>
              <a:buChar char="l"/>
            </a:pPr>
            <a:r>
              <a:rPr lang="en-US" sz="2000" dirty="0">
                <a:solidFill>
                  <a:schemeClr val="tx1"/>
                </a:solidFill>
                <a:ea typeface="ＭＳ Ｐゴシック" charset="-128"/>
              </a:rPr>
              <a:t>Questions were adapted to each country context and participant’s role and experience.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Identify the strengths and weaknesses of existing malaria prevention programs (SMC, PMC, vaccines)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Understand the drivers and barriers of implementation of existing tools to gauge the preparedness of countries in adopting and rolling out new malaria prevention tools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Understand the preferences for each intervention, as well as their potential complementarity.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Identify ways to address potential challenges to implementation</a:t>
            </a:r>
          </a:p>
          <a:p>
            <a:endParaRPr lang="en-US" sz="2000" dirty="0"/>
          </a:p>
          <a:p>
            <a:r>
              <a:rPr lang="en-US" sz="2000" dirty="0"/>
              <a:t>Disclaimer: the survey was initiated prior to the release of the updated WHO recommendation for malaria chemoprevention and elimination in June 2022.</a:t>
            </a:r>
          </a:p>
          <a:p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DEB4AE-C7A4-EFF4-A88F-42B33F0F7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9956" y="104860"/>
            <a:ext cx="2265714" cy="4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61032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Key findings - SMC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B2EA1D2-3BCA-C6BA-4CB4-197D9648BD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2913557"/>
              </p:ext>
            </p:extLst>
          </p:nvPr>
        </p:nvGraphicFramePr>
        <p:xfrm>
          <a:off x="982130" y="855133"/>
          <a:ext cx="1013760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DF7D838-9197-6373-4A03-AD482EA5BA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59956" y="87926"/>
            <a:ext cx="2265714" cy="4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46816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943144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Key findings – Perennial Malaria Chemopreven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C3BA735-8D43-F619-6446-87A1D9F0AC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4118092"/>
              </p:ext>
            </p:extLst>
          </p:nvPr>
        </p:nvGraphicFramePr>
        <p:xfrm>
          <a:off x="604415" y="906277"/>
          <a:ext cx="10849791" cy="5622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FCAC048-3FD8-27AD-C645-ED048BD159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59956" y="87926"/>
            <a:ext cx="2265714" cy="4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1809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Key findings - RTS,S vaccin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C3BA735-8D43-F619-6446-87A1D9F0AC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1396978"/>
              </p:ext>
            </p:extLst>
          </p:nvPr>
        </p:nvGraphicFramePr>
        <p:xfrm>
          <a:off x="604415" y="906277"/>
          <a:ext cx="10849791" cy="5622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BEAC97D-CA6F-8B12-EDAD-B4F57918B4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59956" y="87926"/>
            <a:ext cx="2265714" cy="48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944039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Key findings – new interven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1DEB4AE-C7A4-EFF4-A88F-42B33F0F7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9956" y="104860"/>
            <a:ext cx="2265714" cy="487803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83F70395-5573-83C6-56F2-85FA377D2B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163088"/>
              </p:ext>
            </p:extLst>
          </p:nvPr>
        </p:nvGraphicFramePr>
        <p:xfrm>
          <a:off x="630547" y="1426087"/>
          <a:ext cx="10849792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2448">
                  <a:extLst>
                    <a:ext uri="{9D8B030D-6E8A-4147-A177-3AD203B41FA5}">
                      <a16:colId xmlns:a16="http://schemas.microsoft.com/office/drawing/2014/main" val="3112201760"/>
                    </a:ext>
                  </a:extLst>
                </a:gridCol>
                <a:gridCol w="2712448">
                  <a:extLst>
                    <a:ext uri="{9D8B030D-6E8A-4147-A177-3AD203B41FA5}">
                      <a16:colId xmlns:a16="http://schemas.microsoft.com/office/drawing/2014/main" val="1167482387"/>
                    </a:ext>
                  </a:extLst>
                </a:gridCol>
                <a:gridCol w="2712448">
                  <a:extLst>
                    <a:ext uri="{9D8B030D-6E8A-4147-A177-3AD203B41FA5}">
                      <a16:colId xmlns:a16="http://schemas.microsoft.com/office/drawing/2014/main" val="4032886836"/>
                    </a:ext>
                  </a:extLst>
                </a:gridCol>
                <a:gridCol w="2712448">
                  <a:extLst>
                    <a:ext uri="{9D8B030D-6E8A-4147-A177-3AD203B41FA5}">
                      <a16:colId xmlns:a16="http://schemas.microsoft.com/office/drawing/2014/main" val="16507379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r-CH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RNA vaccine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AI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mAb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16394661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Knowledge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thanks to Covid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ow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ixed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extLst>
                  <a:ext uri="{0D108BD9-81ED-4DB2-BD59-A6C34878D82A}">
                    <a16:rowId xmlns:a16="http://schemas.microsoft.com/office/drawing/2014/main" val="15684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rceived benefits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tter than other vaccines in dealing with parasite diversity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 gridSpan="2">
                  <a:txBody>
                    <a:bodyPr/>
                    <a:lstStyle/>
                    <a:p>
                      <a:r>
                        <a:rPr lang="en-US" dirty="0"/>
                        <a:t>Address adherence issues.</a:t>
                      </a:r>
                    </a:p>
                    <a:p>
                      <a:r>
                        <a:rPr lang="en-US" dirty="0"/>
                        <a:t>Complementarity with existing programs.</a:t>
                      </a:r>
                    </a:p>
                    <a:p>
                      <a:r>
                        <a:rPr lang="en-US" dirty="0"/>
                        <a:t>Replace SMC?                    For travelers?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130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rivers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 gridSpan="3">
                  <a:txBody>
                    <a:bodyPr/>
                    <a:lstStyle/>
                    <a:p>
                      <a:r>
                        <a:rPr lang="en-US" dirty="0"/>
                        <a:t>Build on existing programs (vaccination, EPI), use existing infrastructures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6086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arriers</a:t>
                      </a:r>
                      <a:endParaRPr lang="fr-CH" dirty="0"/>
                    </a:p>
                  </a:txBody>
                  <a:tcPr marL="137160" marR="137160" marT="137160" marB="137160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ncerns about safety profile and side effects</a:t>
                      </a:r>
                    </a:p>
                    <a:p>
                      <a:pPr algn="ctr"/>
                      <a:r>
                        <a:rPr lang="en-US" dirty="0"/>
                        <a:t>Expected high cost and need for extra resources</a:t>
                      </a:r>
                    </a:p>
                    <a:p>
                      <a:pPr algn="ctr"/>
                      <a:r>
                        <a:rPr lang="en-US" dirty="0"/>
                        <a:t>Unclear mechanism of action</a:t>
                      </a:r>
                    </a:p>
                  </a:txBody>
                  <a:tcPr marL="137160" marR="137160" marT="137160" marB="137160"/>
                </a:tc>
                <a:tc h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H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656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089469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04</TotalTime>
  <Words>707</Words>
  <Application>Microsoft Office PowerPoint</Application>
  <PresentationFormat>Widescreen</PresentationFormat>
  <Paragraphs>144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ourier New</vt:lpstr>
      <vt:lpstr>System Font Regular</vt:lpstr>
      <vt:lpstr>Wingdings</vt:lpstr>
      <vt:lpstr>Thème Office</vt:lpstr>
      <vt:lpstr>Custom Design</vt:lpstr>
      <vt:lpstr>1_Custom Design</vt:lpstr>
      <vt:lpstr>2_Custom Design</vt:lpstr>
      <vt:lpstr>3_Custom Design</vt:lpstr>
      <vt:lpstr>think-cell Slide</vt:lpstr>
      <vt:lpstr>PowerPoint Presentation</vt:lpstr>
      <vt:lpstr>Future malaria chemoprevention landscape</vt:lpstr>
      <vt:lpstr>Key question</vt:lpstr>
      <vt:lpstr>Market research methodology</vt:lpstr>
      <vt:lpstr>Topics discussed</vt:lpstr>
      <vt:lpstr>Key findings - SMC</vt:lpstr>
      <vt:lpstr>Key findings – Perennial Malaria Chemoprevention</vt:lpstr>
      <vt:lpstr>Key findings - RTS,S vaccine</vt:lpstr>
      <vt:lpstr>Key findings – new intervention</vt:lpstr>
      <vt:lpstr>Preferences, integration and complementarity of malaria prevention programs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eline Audibert</cp:lastModifiedBy>
  <cp:revision>1072</cp:revision>
  <cp:lastPrinted>2020-01-14T13:32:23Z</cp:lastPrinted>
  <dcterms:created xsi:type="dcterms:W3CDTF">2018-10-16T01:49:16Z</dcterms:created>
  <dcterms:modified xsi:type="dcterms:W3CDTF">2023-03-01T12:54:49Z</dcterms:modified>
</cp:coreProperties>
</file>